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4">
  <p:sldMasterIdLst>
    <p:sldMasterId id="2147483649" r:id="rId1"/>
    <p:sldMasterId id="2147483685" r:id="rId2"/>
  </p:sldMasterIdLst>
  <p:notesMasterIdLst>
    <p:notesMasterId r:id="rId9"/>
  </p:notesMasterIdLst>
  <p:handoutMasterIdLst>
    <p:handoutMasterId r:id="rId10"/>
  </p:handoutMasterIdLst>
  <p:sldIdLst>
    <p:sldId id="371" r:id="rId3"/>
    <p:sldId id="372" r:id="rId4"/>
    <p:sldId id="386" r:id="rId5"/>
    <p:sldId id="376" r:id="rId6"/>
    <p:sldId id="388" r:id="rId7"/>
    <p:sldId id="377" r:id="rId8"/>
  </p:sldIdLst>
  <p:sldSz cx="9906000" cy="6858000" type="A4"/>
  <p:notesSz cx="6805613" cy="993933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000000"/>
    <a:srgbClr val="E7CF6E"/>
    <a:srgbClr val="FFCC66"/>
    <a:srgbClr val="F8F3AC"/>
    <a:srgbClr val="FFFFFF"/>
    <a:srgbClr val="FF6600"/>
    <a:srgbClr val="FF9966"/>
    <a:srgbClr val="FFFF66"/>
    <a:srgbClr val="8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733" autoAdjust="0"/>
    <p:restoredTop sz="97788" autoAdjust="0"/>
  </p:normalViewPr>
  <p:slideViewPr>
    <p:cSldViewPr snapToGrid="0">
      <p:cViewPr>
        <p:scale>
          <a:sx n="100" d="100"/>
          <a:sy n="100" d="100"/>
        </p:scale>
        <p:origin x="-2362" y="-696"/>
      </p:cViewPr>
      <p:guideLst>
        <p:guide orient="horz" pos="3087"/>
        <p:guide orient="horz" pos="639"/>
        <p:guide orient="horz" pos="2667"/>
        <p:guide pos="3120"/>
        <p:guide pos="127"/>
        <p:guide pos="6119"/>
        <p:guide pos="5701"/>
        <p:guide pos="3081"/>
        <p:guide pos="435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-2040" y="-102"/>
      </p:cViewPr>
      <p:guideLst>
        <p:guide orient="horz" pos="3132"/>
        <p:guide pos="214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C15177A-F5DA-4054-A92C-0C1B6AE9D54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BC27968-9287-4CBD-97D0-AB9A04496DFC}">
      <dgm:prSet phldrT="[Текст]"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ИПОТЕЧНАЯ ПРОГРАММА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8FC096D4-8D51-4446-90CD-D9AFFADD2555}" type="parTrans" cxnId="{97935727-2762-4072-BE14-79A3271F616E}">
      <dgm:prSet/>
      <dgm:spPr/>
      <dgm:t>
        <a:bodyPr/>
        <a:lstStyle/>
        <a:p>
          <a:endParaRPr lang="ru-RU"/>
        </a:p>
      </dgm:t>
    </dgm:pt>
    <dgm:pt modelId="{70002953-73B4-4915-AE6E-59200FEEB633}" type="sibTrans" cxnId="{97935727-2762-4072-BE14-79A3271F616E}">
      <dgm:prSet/>
      <dgm:spPr/>
      <dgm:t>
        <a:bodyPr/>
        <a:lstStyle/>
        <a:p>
          <a:endParaRPr lang="ru-RU"/>
        </a:p>
      </dgm:t>
    </dgm:pt>
    <dgm:pt modelId="{569AB003-3C5D-49A2-AB43-2B65B9FD3BE4}">
      <dgm:prSet phldrT="[Текст]"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САНАТОРНО-КУРОРТНОЕ ОЗДОРОВЛЕНИЕ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E91DA944-08B4-4D8B-9085-6737EBCE27CF}" type="parTrans" cxnId="{DF66FFED-1CFF-47D4-B2F8-1851417A5436}">
      <dgm:prSet/>
      <dgm:spPr/>
      <dgm:t>
        <a:bodyPr/>
        <a:lstStyle/>
        <a:p>
          <a:endParaRPr lang="ru-RU"/>
        </a:p>
      </dgm:t>
    </dgm:pt>
    <dgm:pt modelId="{E15D059E-ED75-4FEE-9106-7F8453F9C513}" type="sibTrans" cxnId="{DF66FFED-1CFF-47D4-B2F8-1851417A5436}">
      <dgm:prSet/>
      <dgm:spPr/>
      <dgm:t>
        <a:bodyPr/>
        <a:lstStyle/>
        <a:p>
          <a:endParaRPr lang="ru-RU"/>
        </a:p>
      </dgm:t>
    </dgm:pt>
    <dgm:pt modelId="{93A65EB9-834B-47F6-BB6D-D2A358DD6BA9}">
      <dgm:prSet phldrT="[Текст]"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ДМС, СТРАХОВАНИЕ ОТ НЕСЧАСТНЫХ СЛУЧАЕВ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22DCD5A3-CEF1-4EF4-B7E2-322E4F458026}" type="parTrans" cxnId="{3EEC873C-D735-46F8-9FB6-EEE4B8759C56}">
      <dgm:prSet/>
      <dgm:spPr/>
      <dgm:t>
        <a:bodyPr/>
        <a:lstStyle/>
        <a:p>
          <a:endParaRPr lang="ru-RU"/>
        </a:p>
      </dgm:t>
    </dgm:pt>
    <dgm:pt modelId="{2D676C33-6542-45CA-B83D-3EAB6F8EFF6D}" type="sibTrans" cxnId="{3EEC873C-D735-46F8-9FB6-EEE4B8759C56}">
      <dgm:prSet/>
      <dgm:spPr/>
      <dgm:t>
        <a:bodyPr/>
        <a:lstStyle/>
        <a:p>
          <a:endParaRPr lang="ru-RU"/>
        </a:p>
      </dgm:t>
    </dgm:pt>
    <dgm:pt modelId="{67441B37-7853-4DDC-ACC0-04F64322AADD}">
      <dgm:prSet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ДОСТАВКА ДО МЕСТА РАБОТЫ И ОБРАТНО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2E3F38BC-5F1D-4CA8-86FF-A92AC3178EAF}" type="parTrans" cxnId="{D4F623F8-1D2B-442C-B22A-3825441ED546}">
      <dgm:prSet/>
      <dgm:spPr/>
      <dgm:t>
        <a:bodyPr/>
        <a:lstStyle/>
        <a:p>
          <a:endParaRPr lang="ru-RU"/>
        </a:p>
      </dgm:t>
    </dgm:pt>
    <dgm:pt modelId="{B88A9D9F-FF9A-4724-959C-51E1E999E0F9}" type="sibTrans" cxnId="{D4F623F8-1D2B-442C-B22A-3825441ED546}">
      <dgm:prSet/>
      <dgm:spPr/>
      <dgm:t>
        <a:bodyPr/>
        <a:lstStyle/>
        <a:p>
          <a:endParaRPr lang="ru-RU"/>
        </a:p>
      </dgm:t>
    </dgm:pt>
    <dgm:pt modelId="{8A4D43AE-63A2-44A7-9ED6-B8742EC1BA91}">
      <dgm:prSet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ЛЬГОТНЫЙ ПРОЕЗД В ОТПУСК И ОБРАТНО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3F34A1D6-CAF4-4F3F-BEED-3BCD7FCDA595}" type="parTrans" cxnId="{E2D2D01F-D970-4037-8EEB-57430708CE22}">
      <dgm:prSet/>
      <dgm:spPr/>
      <dgm:t>
        <a:bodyPr/>
        <a:lstStyle/>
        <a:p>
          <a:endParaRPr lang="ru-RU"/>
        </a:p>
      </dgm:t>
    </dgm:pt>
    <dgm:pt modelId="{352831AA-F2B7-41C3-83F2-FFAF15CB9553}" type="sibTrans" cxnId="{E2D2D01F-D970-4037-8EEB-57430708CE22}">
      <dgm:prSet/>
      <dgm:spPr/>
      <dgm:t>
        <a:bodyPr/>
        <a:lstStyle/>
        <a:p>
          <a:endParaRPr lang="ru-RU"/>
        </a:p>
      </dgm:t>
    </dgm:pt>
    <dgm:pt modelId="{7F5C9ACF-3ECF-4A75-B1C9-361C32D264AB}">
      <dgm:prSet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МАТПОМОЩЬ ПО КОЛЛЕКТИВНОМУ ДОГОВОРУ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28FF9CDD-C5EE-4B76-A847-ACC539BC10C6}" type="parTrans" cxnId="{8F7FDB34-D074-43EC-B4DC-F386CCBFD6AF}">
      <dgm:prSet/>
      <dgm:spPr/>
      <dgm:t>
        <a:bodyPr/>
        <a:lstStyle/>
        <a:p>
          <a:endParaRPr lang="ru-RU"/>
        </a:p>
      </dgm:t>
    </dgm:pt>
    <dgm:pt modelId="{58C1B166-7F11-4CA3-9430-BA4920D380E1}" type="sibTrans" cxnId="{8F7FDB34-D074-43EC-B4DC-F386CCBFD6AF}">
      <dgm:prSet/>
      <dgm:spPr/>
      <dgm:t>
        <a:bodyPr/>
        <a:lstStyle/>
        <a:p>
          <a:endParaRPr lang="ru-RU"/>
        </a:p>
      </dgm:t>
    </dgm:pt>
    <dgm:pt modelId="{6A655EAD-AA54-4DA2-9E68-3058266E6595}">
      <dgm:prSet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ДОПЛАТЫ К ЗАРАБОТНОЙ ПЛАТЕ МОЛОДЫМ СПЕЦИАЛИСТАМ, РАБОТАЮЩИМ ПО РАБОЧИМ ПРОФЕССИЯМ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7078C592-8341-4675-858D-A7F114B5C640}" type="parTrans" cxnId="{37DE82C8-EA55-43E7-AF4C-8658A51EEC18}">
      <dgm:prSet/>
      <dgm:spPr/>
      <dgm:t>
        <a:bodyPr/>
        <a:lstStyle/>
        <a:p>
          <a:endParaRPr lang="ru-RU"/>
        </a:p>
      </dgm:t>
    </dgm:pt>
    <dgm:pt modelId="{D8D73462-BFE8-4685-9858-D5A3F7501B9D}" type="sibTrans" cxnId="{37DE82C8-EA55-43E7-AF4C-8658A51EEC18}">
      <dgm:prSet/>
      <dgm:spPr/>
      <dgm:t>
        <a:bodyPr/>
        <a:lstStyle/>
        <a:p>
          <a:endParaRPr lang="ru-RU"/>
        </a:p>
      </dgm:t>
    </dgm:pt>
    <dgm:pt modelId="{D6335A36-6574-4891-8E73-94BB39684F3A}">
      <dgm:prSet custT="1"/>
      <dgm:spPr>
        <a:solidFill>
          <a:srgbClr val="FFC000">
            <a:alpha val="3098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СЛУЖЕБНОЕ ЖИЛЬЕ</a:t>
          </a:r>
          <a:r>
            <a:rPr lang="en-US" sz="1800" b="1" dirty="0" smtClean="0">
              <a:solidFill>
                <a:schemeClr val="tx1"/>
              </a:solidFill>
              <a:latin typeface="+mj-lt"/>
            </a:rPr>
            <a:t>/</a:t>
          </a:r>
          <a:r>
            <a:rPr lang="ru-RU" sz="1800" b="1" dirty="0" smtClean="0">
              <a:solidFill>
                <a:schemeClr val="tx1"/>
              </a:solidFill>
              <a:latin typeface="+mj-lt"/>
            </a:rPr>
            <a:t>КОМПЕНСАЦИЯ НАЙМА ЖИЛЬЯ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ACFA168B-2F4E-449B-9D2E-20934A3C82A5}" type="parTrans" cxnId="{BD85E650-BBBD-4013-9F3E-A0F2C6318199}">
      <dgm:prSet/>
      <dgm:spPr/>
      <dgm:t>
        <a:bodyPr/>
        <a:lstStyle/>
        <a:p>
          <a:endParaRPr lang="ru-RU"/>
        </a:p>
      </dgm:t>
    </dgm:pt>
    <dgm:pt modelId="{BFEAD42D-FC52-4758-8E5A-D7458137D297}" type="sibTrans" cxnId="{BD85E650-BBBD-4013-9F3E-A0F2C6318199}">
      <dgm:prSet/>
      <dgm:spPr/>
      <dgm:t>
        <a:bodyPr/>
        <a:lstStyle/>
        <a:p>
          <a:endParaRPr lang="ru-RU"/>
        </a:p>
      </dgm:t>
    </dgm:pt>
    <dgm:pt modelId="{39E541AD-9830-4AC2-BBE3-FDBFCFFFEC28}">
      <dgm:prSet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СЕВЕРНАЯ НАДБАВКА В ПОЛНОМ РАЗМЕРЕ С ПЕРВОГО ДНЯ РАБОТЫ 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5B751ED3-028A-48B1-9035-A2D6357890BA}" type="parTrans" cxnId="{80FA09B5-F95B-47A0-9655-36CA35792A79}">
      <dgm:prSet/>
      <dgm:spPr/>
      <dgm:t>
        <a:bodyPr/>
        <a:lstStyle/>
        <a:p>
          <a:endParaRPr lang="ru-RU"/>
        </a:p>
      </dgm:t>
    </dgm:pt>
    <dgm:pt modelId="{5AF68648-9256-42C8-9D06-3FB44C63A21B}" type="sibTrans" cxnId="{80FA09B5-F95B-47A0-9655-36CA35792A79}">
      <dgm:prSet/>
      <dgm:spPr/>
      <dgm:t>
        <a:bodyPr/>
        <a:lstStyle/>
        <a:p>
          <a:endParaRPr lang="ru-RU"/>
        </a:p>
      </dgm:t>
    </dgm:pt>
    <dgm:pt modelId="{30D9A49E-2717-4B12-8F94-8D60C6139134}" type="pres">
      <dgm:prSet presAssocID="{0C15177A-F5DA-4054-A92C-0C1B6AE9D54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BF41092-B00D-43EF-8C6B-2D551A79742D}" type="pres">
      <dgm:prSet presAssocID="{39E541AD-9830-4AC2-BBE3-FDBFCFFFEC28}" presName="parentLin" presStyleCnt="0"/>
      <dgm:spPr/>
    </dgm:pt>
    <dgm:pt modelId="{4298B12E-9A2E-4990-B617-63184AFBAA13}" type="pres">
      <dgm:prSet presAssocID="{39E541AD-9830-4AC2-BBE3-FDBFCFFFEC28}" presName="parentLeftMargin" presStyleLbl="node1" presStyleIdx="0" presStyleCnt="9"/>
      <dgm:spPr/>
      <dgm:t>
        <a:bodyPr/>
        <a:lstStyle/>
        <a:p>
          <a:endParaRPr lang="ru-RU"/>
        </a:p>
      </dgm:t>
    </dgm:pt>
    <dgm:pt modelId="{9E87CB9B-2BEA-4D3D-9675-0C19B8CEE39F}" type="pres">
      <dgm:prSet presAssocID="{39E541AD-9830-4AC2-BBE3-FDBFCFFFEC28}" presName="parentText" presStyleLbl="node1" presStyleIdx="0" presStyleCnt="9" custScaleX="142857" custScaleY="17667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F25120-A83A-4A52-9968-236565B41679}" type="pres">
      <dgm:prSet presAssocID="{39E541AD-9830-4AC2-BBE3-FDBFCFFFEC28}" presName="negativeSpace" presStyleCnt="0"/>
      <dgm:spPr/>
    </dgm:pt>
    <dgm:pt modelId="{58ACDEC7-F610-4194-9F26-C89D26DDF209}" type="pres">
      <dgm:prSet presAssocID="{39E541AD-9830-4AC2-BBE3-FDBFCFFFEC28}" presName="childText" presStyleLbl="conFgAcc1" presStyleIdx="0" presStyleCnt="9">
        <dgm:presLayoutVars>
          <dgm:bulletEnabled val="1"/>
        </dgm:presLayoutVars>
      </dgm:prSet>
      <dgm:spPr/>
    </dgm:pt>
    <dgm:pt modelId="{33A4FEEC-1F6B-44C5-B726-D9D291525080}" type="pres">
      <dgm:prSet presAssocID="{5AF68648-9256-42C8-9D06-3FB44C63A21B}" presName="spaceBetweenRectangles" presStyleCnt="0"/>
      <dgm:spPr/>
    </dgm:pt>
    <dgm:pt modelId="{968F3C34-722E-448A-AFA6-247AAC30BDA2}" type="pres">
      <dgm:prSet presAssocID="{5BC27968-9287-4CBD-97D0-AB9A04496DFC}" presName="parentLin" presStyleCnt="0"/>
      <dgm:spPr/>
    </dgm:pt>
    <dgm:pt modelId="{A34D6081-8C90-4961-B756-F6B0F40F0757}" type="pres">
      <dgm:prSet presAssocID="{5BC27968-9287-4CBD-97D0-AB9A04496DFC}" presName="parentLeftMargin" presStyleLbl="node1" presStyleIdx="0" presStyleCnt="9"/>
      <dgm:spPr/>
      <dgm:t>
        <a:bodyPr/>
        <a:lstStyle/>
        <a:p>
          <a:endParaRPr lang="ru-RU"/>
        </a:p>
      </dgm:t>
    </dgm:pt>
    <dgm:pt modelId="{75343646-D25C-4CBB-A0C6-92E55958C239}" type="pres">
      <dgm:prSet presAssocID="{5BC27968-9287-4CBD-97D0-AB9A04496DFC}" presName="parentText" presStyleLbl="node1" presStyleIdx="1" presStyleCnt="9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2216AB-BDF1-433B-ACA3-9A009B20012B}" type="pres">
      <dgm:prSet presAssocID="{5BC27968-9287-4CBD-97D0-AB9A04496DFC}" presName="negativeSpace" presStyleCnt="0"/>
      <dgm:spPr/>
    </dgm:pt>
    <dgm:pt modelId="{6BC3E02D-AE11-4749-A816-7BCEFAFD16AD}" type="pres">
      <dgm:prSet presAssocID="{5BC27968-9287-4CBD-97D0-AB9A04496DFC}" presName="childText" presStyleLbl="conFgAcc1" presStyleIdx="1" presStyleCnt="9">
        <dgm:presLayoutVars>
          <dgm:bulletEnabled val="1"/>
        </dgm:presLayoutVars>
      </dgm:prSet>
      <dgm:spPr>
        <a:noFill/>
      </dgm:spPr>
    </dgm:pt>
    <dgm:pt modelId="{0B27876D-7AFD-4041-8AF0-647DF912CDEA}" type="pres">
      <dgm:prSet presAssocID="{70002953-73B4-4915-AE6E-59200FEEB633}" presName="spaceBetweenRectangles" presStyleCnt="0"/>
      <dgm:spPr/>
    </dgm:pt>
    <dgm:pt modelId="{921706A8-A251-483B-AAA8-EE537A835782}" type="pres">
      <dgm:prSet presAssocID="{D6335A36-6574-4891-8E73-94BB39684F3A}" presName="parentLin" presStyleCnt="0"/>
      <dgm:spPr/>
    </dgm:pt>
    <dgm:pt modelId="{57BC3697-AE22-4075-8454-22264DE07757}" type="pres">
      <dgm:prSet presAssocID="{D6335A36-6574-4891-8E73-94BB39684F3A}" presName="parentLeftMargin" presStyleLbl="node1" presStyleIdx="1" presStyleCnt="9"/>
      <dgm:spPr/>
      <dgm:t>
        <a:bodyPr/>
        <a:lstStyle/>
        <a:p>
          <a:endParaRPr lang="ru-RU"/>
        </a:p>
      </dgm:t>
    </dgm:pt>
    <dgm:pt modelId="{3F67AECE-EA02-4157-A5D4-7DF8FC5A68E2}" type="pres">
      <dgm:prSet presAssocID="{D6335A36-6574-4891-8E73-94BB39684F3A}" presName="parentText" presStyleLbl="node1" presStyleIdx="2" presStyleCnt="9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82DBA8-57E1-49F8-A504-E809F80DD98F}" type="pres">
      <dgm:prSet presAssocID="{D6335A36-6574-4891-8E73-94BB39684F3A}" presName="negativeSpace" presStyleCnt="0"/>
      <dgm:spPr/>
    </dgm:pt>
    <dgm:pt modelId="{E45634DA-F1B6-4293-ACEF-8A5B284BAAE2}" type="pres">
      <dgm:prSet presAssocID="{D6335A36-6574-4891-8E73-94BB39684F3A}" presName="childText" presStyleLbl="conFgAcc1" presStyleIdx="2" presStyleCnt="9">
        <dgm:presLayoutVars>
          <dgm:bulletEnabled val="1"/>
        </dgm:presLayoutVars>
      </dgm:prSet>
      <dgm:spPr/>
    </dgm:pt>
    <dgm:pt modelId="{0442FB34-1CB9-4451-87CD-9A88DA844296}" type="pres">
      <dgm:prSet presAssocID="{BFEAD42D-FC52-4758-8E5A-D7458137D297}" presName="spaceBetweenRectangles" presStyleCnt="0"/>
      <dgm:spPr/>
    </dgm:pt>
    <dgm:pt modelId="{722C98DA-D35F-47DF-86C3-5BA2130F0829}" type="pres">
      <dgm:prSet presAssocID="{569AB003-3C5D-49A2-AB43-2B65B9FD3BE4}" presName="parentLin" presStyleCnt="0"/>
      <dgm:spPr/>
    </dgm:pt>
    <dgm:pt modelId="{1261EF64-8AC8-4679-9590-7AB1ED661103}" type="pres">
      <dgm:prSet presAssocID="{569AB003-3C5D-49A2-AB43-2B65B9FD3BE4}" presName="parentLeftMargin" presStyleLbl="node1" presStyleIdx="2" presStyleCnt="9"/>
      <dgm:spPr/>
      <dgm:t>
        <a:bodyPr/>
        <a:lstStyle/>
        <a:p>
          <a:endParaRPr lang="ru-RU"/>
        </a:p>
      </dgm:t>
    </dgm:pt>
    <dgm:pt modelId="{60B6FCB1-162D-46EA-9780-DBA53813655D}" type="pres">
      <dgm:prSet presAssocID="{569AB003-3C5D-49A2-AB43-2B65B9FD3BE4}" presName="parentText" presStyleLbl="node1" presStyleIdx="3" presStyleCnt="9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7CB0F1-A576-4F62-920B-D7A06560EDC3}" type="pres">
      <dgm:prSet presAssocID="{569AB003-3C5D-49A2-AB43-2B65B9FD3BE4}" presName="negativeSpace" presStyleCnt="0"/>
      <dgm:spPr/>
    </dgm:pt>
    <dgm:pt modelId="{B2B52EC9-6359-42F0-B10D-593152C41EC7}" type="pres">
      <dgm:prSet presAssocID="{569AB003-3C5D-49A2-AB43-2B65B9FD3BE4}" presName="childText" presStyleLbl="conFgAcc1" presStyleIdx="3" presStyleCnt="9">
        <dgm:presLayoutVars>
          <dgm:bulletEnabled val="1"/>
        </dgm:presLayoutVars>
      </dgm:prSet>
      <dgm:spPr>
        <a:noFill/>
      </dgm:spPr>
    </dgm:pt>
    <dgm:pt modelId="{C54F56E9-5749-49A4-B2D8-45E661B0D1D0}" type="pres">
      <dgm:prSet presAssocID="{E15D059E-ED75-4FEE-9106-7F8453F9C513}" presName="spaceBetweenRectangles" presStyleCnt="0"/>
      <dgm:spPr/>
    </dgm:pt>
    <dgm:pt modelId="{98BB8999-EC1E-489C-94E4-786D60ECE5CE}" type="pres">
      <dgm:prSet presAssocID="{93A65EB9-834B-47F6-BB6D-D2A358DD6BA9}" presName="parentLin" presStyleCnt="0"/>
      <dgm:spPr/>
    </dgm:pt>
    <dgm:pt modelId="{6B247087-1A32-4BB3-A68C-55D64963A829}" type="pres">
      <dgm:prSet presAssocID="{93A65EB9-834B-47F6-BB6D-D2A358DD6BA9}" presName="parentLeftMargin" presStyleLbl="node1" presStyleIdx="3" presStyleCnt="9"/>
      <dgm:spPr/>
      <dgm:t>
        <a:bodyPr/>
        <a:lstStyle/>
        <a:p>
          <a:endParaRPr lang="ru-RU"/>
        </a:p>
      </dgm:t>
    </dgm:pt>
    <dgm:pt modelId="{CA3C0F11-5989-4521-B025-D2847DD075C5}" type="pres">
      <dgm:prSet presAssocID="{93A65EB9-834B-47F6-BB6D-D2A358DD6BA9}" presName="parentText" presStyleLbl="node1" presStyleIdx="4" presStyleCnt="9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7E1079-58C4-4560-B3B7-16587C3DB1AA}" type="pres">
      <dgm:prSet presAssocID="{93A65EB9-834B-47F6-BB6D-D2A358DD6BA9}" presName="negativeSpace" presStyleCnt="0"/>
      <dgm:spPr/>
    </dgm:pt>
    <dgm:pt modelId="{F53F04FF-EC44-497D-8CFA-AAFF9A3C258E}" type="pres">
      <dgm:prSet presAssocID="{93A65EB9-834B-47F6-BB6D-D2A358DD6BA9}" presName="childText" presStyleLbl="conFgAcc1" presStyleIdx="4" presStyleCnt="9">
        <dgm:presLayoutVars>
          <dgm:bulletEnabled val="1"/>
        </dgm:presLayoutVars>
      </dgm:prSet>
      <dgm:spPr>
        <a:noFill/>
      </dgm:spPr>
    </dgm:pt>
    <dgm:pt modelId="{4F1E0E9D-4859-460A-BA19-288B28DF3CCC}" type="pres">
      <dgm:prSet presAssocID="{2D676C33-6542-45CA-B83D-3EAB6F8EFF6D}" presName="spaceBetweenRectangles" presStyleCnt="0"/>
      <dgm:spPr/>
    </dgm:pt>
    <dgm:pt modelId="{397FA466-6696-4A01-8F43-E854FC4D2C1F}" type="pres">
      <dgm:prSet presAssocID="{67441B37-7853-4DDC-ACC0-04F64322AADD}" presName="parentLin" presStyleCnt="0"/>
      <dgm:spPr/>
    </dgm:pt>
    <dgm:pt modelId="{868C405F-8EF2-4965-8D6E-4691B5F47FC0}" type="pres">
      <dgm:prSet presAssocID="{67441B37-7853-4DDC-ACC0-04F64322AADD}" presName="parentLeftMargin" presStyleLbl="node1" presStyleIdx="4" presStyleCnt="9"/>
      <dgm:spPr/>
      <dgm:t>
        <a:bodyPr/>
        <a:lstStyle/>
        <a:p>
          <a:endParaRPr lang="ru-RU"/>
        </a:p>
      </dgm:t>
    </dgm:pt>
    <dgm:pt modelId="{7E7D660D-66F0-492B-99FC-C2C6D7DCAEBC}" type="pres">
      <dgm:prSet presAssocID="{67441B37-7853-4DDC-ACC0-04F64322AADD}" presName="parentText" presStyleLbl="node1" presStyleIdx="5" presStyleCnt="9" custScaleX="142857" custLinFactNeighborX="-666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2127B3-01B1-4582-8B45-8A5E5EFA09C0}" type="pres">
      <dgm:prSet presAssocID="{67441B37-7853-4DDC-ACC0-04F64322AADD}" presName="negativeSpace" presStyleCnt="0"/>
      <dgm:spPr/>
    </dgm:pt>
    <dgm:pt modelId="{CA9BE46D-3286-4E7C-BD35-A68F0101C418}" type="pres">
      <dgm:prSet presAssocID="{67441B37-7853-4DDC-ACC0-04F64322AADD}" presName="childText" presStyleLbl="conFgAcc1" presStyleIdx="5" presStyleCnt="9">
        <dgm:presLayoutVars>
          <dgm:bulletEnabled val="1"/>
        </dgm:presLayoutVars>
      </dgm:prSet>
      <dgm:spPr>
        <a:noFill/>
      </dgm:spPr>
    </dgm:pt>
    <dgm:pt modelId="{0DBBFD66-5297-4422-B4F6-89B3469755AE}" type="pres">
      <dgm:prSet presAssocID="{B88A9D9F-FF9A-4724-959C-51E1E999E0F9}" presName="spaceBetweenRectangles" presStyleCnt="0"/>
      <dgm:spPr/>
    </dgm:pt>
    <dgm:pt modelId="{57BAC3DD-0F8D-4F72-806D-851EAE969FA5}" type="pres">
      <dgm:prSet presAssocID="{8A4D43AE-63A2-44A7-9ED6-B8742EC1BA91}" presName="parentLin" presStyleCnt="0"/>
      <dgm:spPr/>
    </dgm:pt>
    <dgm:pt modelId="{5B18869A-A384-4327-9D60-B4E562E0BB75}" type="pres">
      <dgm:prSet presAssocID="{8A4D43AE-63A2-44A7-9ED6-B8742EC1BA91}" presName="parentLeftMargin" presStyleLbl="node1" presStyleIdx="5" presStyleCnt="9"/>
      <dgm:spPr/>
      <dgm:t>
        <a:bodyPr/>
        <a:lstStyle/>
        <a:p>
          <a:endParaRPr lang="ru-RU"/>
        </a:p>
      </dgm:t>
    </dgm:pt>
    <dgm:pt modelId="{A02094EB-6FCE-4070-975A-1FA876D3F2C2}" type="pres">
      <dgm:prSet presAssocID="{8A4D43AE-63A2-44A7-9ED6-B8742EC1BA91}" presName="parentText" presStyleLbl="node1" presStyleIdx="6" presStyleCnt="9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DA8554-E211-459C-83F0-1172B2084034}" type="pres">
      <dgm:prSet presAssocID="{8A4D43AE-63A2-44A7-9ED6-B8742EC1BA91}" presName="negativeSpace" presStyleCnt="0"/>
      <dgm:spPr/>
    </dgm:pt>
    <dgm:pt modelId="{6DB02799-A699-453E-86AF-F4501191D8CA}" type="pres">
      <dgm:prSet presAssocID="{8A4D43AE-63A2-44A7-9ED6-B8742EC1BA91}" presName="childText" presStyleLbl="conFgAcc1" presStyleIdx="6" presStyleCnt="9">
        <dgm:presLayoutVars>
          <dgm:bulletEnabled val="1"/>
        </dgm:presLayoutVars>
      </dgm:prSet>
      <dgm:spPr>
        <a:noFill/>
      </dgm:spPr>
    </dgm:pt>
    <dgm:pt modelId="{B6085D7E-09EE-4AC4-9C01-B138DB14A304}" type="pres">
      <dgm:prSet presAssocID="{352831AA-F2B7-41C3-83F2-FFAF15CB9553}" presName="spaceBetweenRectangles" presStyleCnt="0"/>
      <dgm:spPr/>
    </dgm:pt>
    <dgm:pt modelId="{03897E47-748B-42DC-B0C1-B8374DC65B07}" type="pres">
      <dgm:prSet presAssocID="{7F5C9ACF-3ECF-4A75-B1C9-361C32D264AB}" presName="parentLin" presStyleCnt="0"/>
      <dgm:spPr/>
    </dgm:pt>
    <dgm:pt modelId="{0FEBEF39-D86C-4B0A-9725-9418B69FABFE}" type="pres">
      <dgm:prSet presAssocID="{7F5C9ACF-3ECF-4A75-B1C9-361C32D264AB}" presName="parentLeftMargin" presStyleLbl="node1" presStyleIdx="6" presStyleCnt="9"/>
      <dgm:spPr/>
      <dgm:t>
        <a:bodyPr/>
        <a:lstStyle/>
        <a:p>
          <a:endParaRPr lang="ru-RU"/>
        </a:p>
      </dgm:t>
    </dgm:pt>
    <dgm:pt modelId="{6C4B8ED1-6E30-4259-B5EC-1AB5711D8063}" type="pres">
      <dgm:prSet presAssocID="{7F5C9ACF-3ECF-4A75-B1C9-361C32D264AB}" presName="parentText" presStyleLbl="node1" presStyleIdx="7" presStyleCnt="9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4A1A2F5-4620-4218-8CE2-240C10AC4003}" type="pres">
      <dgm:prSet presAssocID="{7F5C9ACF-3ECF-4A75-B1C9-361C32D264AB}" presName="negativeSpace" presStyleCnt="0"/>
      <dgm:spPr/>
    </dgm:pt>
    <dgm:pt modelId="{973B9785-E76C-4B26-8B38-A9696EE9B10E}" type="pres">
      <dgm:prSet presAssocID="{7F5C9ACF-3ECF-4A75-B1C9-361C32D264AB}" presName="childText" presStyleLbl="conFgAcc1" presStyleIdx="7" presStyleCnt="9">
        <dgm:presLayoutVars>
          <dgm:bulletEnabled val="1"/>
        </dgm:presLayoutVars>
      </dgm:prSet>
      <dgm:spPr>
        <a:noFill/>
      </dgm:spPr>
    </dgm:pt>
    <dgm:pt modelId="{DBB0CAF2-43A1-4AE8-BF68-9AA0D13169D8}" type="pres">
      <dgm:prSet presAssocID="{58C1B166-7F11-4CA3-9430-BA4920D380E1}" presName="spaceBetweenRectangles" presStyleCnt="0"/>
      <dgm:spPr/>
    </dgm:pt>
    <dgm:pt modelId="{64D7C588-5111-4BEA-95D3-D91F0AAE675C}" type="pres">
      <dgm:prSet presAssocID="{6A655EAD-AA54-4DA2-9E68-3058266E6595}" presName="parentLin" presStyleCnt="0"/>
      <dgm:spPr/>
    </dgm:pt>
    <dgm:pt modelId="{04CBBC16-45A5-4261-B55F-021C383C6CC4}" type="pres">
      <dgm:prSet presAssocID="{6A655EAD-AA54-4DA2-9E68-3058266E6595}" presName="parentLeftMargin" presStyleLbl="node1" presStyleIdx="7" presStyleCnt="9"/>
      <dgm:spPr/>
      <dgm:t>
        <a:bodyPr/>
        <a:lstStyle/>
        <a:p>
          <a:endParaRPr lang="ru-RU"/>
        </a:p>
      </dgm:t>
    </dgm:pt>
    <dgm:pt modelId="{7C88D1F9-EDE1-4EAE-88C5-39EC2BE78AA4}" type="pres">
      <dgm:prSet presAssocID="{6A655EAD-AA54-4DA2-9E68-3058266E6595}" presName="parentText" presStyleLbl="node1" presStyleIdx="8" presStyleCnt="9" custScaleX="142857" custScaleY="18617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8FC56E-4BD5-4B96-A411-8E58F100E8BF}" type="pres">
      <dgm:prSet presAssocID="{6A655EAD-AA54-4DA2-9E68-3058266E6595}" presName="negativeSpace" presStyleCnt="0"/>
      <dgm:spPr/>
    </dgm:pt>
    <dgm:pt modelId="{0934393B-8116-4D8D-9EDA-3A67ED4C1E5C}" type="pres">
      <dgm:prSet presAssocID="{6A655EAD-AA54-4DA2-9E68-3058266E6595}" presName="childText" presStyleLbl="conFgAcc1" presStyleIdx="8" presStyleCnt="9">
        <dgm:presLayoutVars>
          <dgm:bulletEnabled val="1"/>
        </dgm:presLayoutVars>
      </dgm:prSet>
      <dgm:spPr>
        <a:noFill/>
      </dgm:spPr>
    </dgm:pt>
  </dgm:ptLst>
  <dgm:cxnLst>
    <dgm:cxn modelId="{87A5247F-AF91-43CD-91B5-A6124B9ABE7F}" type="presOf" srcId="{7F5C9ACF-3ECF-4A75-B1C9-361C32D264AB}" destId="{6C4B8ED1-6E30-4259-B5EC-1AB5711D8063}" srcOrd="1" destOrd="0" presId="urn:microsoft.com/office/officeart/2005/8/layout/list1"/>
    <dgm:cxn modelId="{97935727-2762-4072-BE14-79A3271F616E}" srcId="{0C15177A-F5DA-4054-A92C-0C1B6AE9D54D}" destId="{5BC27968-9287-4CBD-97D0-AB9A04496DFC}" srcOrd="1" destOrd="0" parTransId="{8FC096D4-8D51-4446-90CD-D9AFFADD2555}" sibTransId="{70002953-73B4-4915-AE6E-59200FEEB633}"/>
    <dgm:cxn modelId="{083E6A73-5AE3-481A-A2B0-0CECDA00BFE9}" type="presOf" srcId="{5BC27968-9287-4CBD-97D0-AB9A04496DFC}" destId="{75343646-D25C-4CBB-A0C6-92E55958C239}" srcOrd="1" destOrd="0" presId="urn:microsoft.com/office/officeart/2005/8/layout/list1"/>
    <dgm:cxn modelId="{F3B684DB-FA3D-4A19-9DD0-A75DC5600C59}" type="presOf" srcId="{7F5C9ACF-3ECF-4A75-B1C9-361C32D264AB}" destId="{0FEBEF39-D86C-4B0A-9725-9418B69FABFE}" srcOrd="0" destOrd="0" presId="urn:microsoft.com/office/officeart/2005/8/layout/list1"/>
    <dgm:cxn modelId="{135DCE9B-8F2A-4FB8-BB56-5A53DFD53E96}" type="presOf" srcId="{0C15177A-F5DA-4054-A92C-0C1B6AE9D54D}" destId="{30D9A49E-2717-4B12-8F94-8D60C6139134}" srcOrd="0" destOrd="0" presId="urn:microsoft.com/office/officeart/2005/8/layout/list1"/>
    <dgm:cxn modelId="{D019C87B-FED7-47F6-9908-F68212C6AF36}" type="presOf" srcId="{39E541AD-9830-4AC2-BBE3-FDBFCFFFEC28}" destId="{4298B12E-9A2E-4990-B617-63184AFBAA13}" srcOrd="0" destOrd="0" presId="urn:microsoft.com/office/officeart/2005/8/layout/list1"/>
    <dgm:cxn modelId="{80FA09B5-F95B-47A0-9655-36CA35792A79}" srcId="{0C15177A-F5DA-4054-A92C-0C1B6AE9D54D}" destId="{39E541AD-9830-4AC2-BBE3-FDBFCFFFEC28}" srcOrd="0" destOrd="0" parTransId="{5B751ED3-028A-48B1-9035-A2D6357890BA}" sibTransId="{5AF68648-9256-42C8-9D06-3FB44C63A21B}"/>
    <dgm:cxn modelId="{BD85E650-BBBD-4013-9F3E-A0F2C6318199}" srcId="{0C15177A-F5DA-4054-A92C-0C1B6AE9D54D}" destId="{D6335A36-6574-4891-8E73-94BB39684F3A}" srcOrd="2" destOrd="0" parTransId="{ACFA168B-2F4E-449B-9D2E-20934A3C82A5}" sibTransId="{BFEAD42D-FC52-4758-8E5A-D7458137D297}"/>
    <dgm:cxn modelId="{37DE82C8-EA55-43E7-AF4C-8658A51EEC18}" srcId="{0C15177A-F5DA-4054-A92C-0C1B6AE9D54D}" destId="{6A655EAD-AA54-4DA2-9E68-3058266E6595}" srcOrd="8" destOrd="0" parTransId="{7078C592-8341-4675-858D-A7F114B5C640}" sibTransId="{D8D73462-BFE8-4685-9858-D5A3F7501B9D}"/>
    <dgm:cxn modelId="{89717CA1-03D8-4394-8B75-02373C2F1650}" type="presOf" srcId="{39E541AD-9830-4AC2-BBE3-FDBFCFFFEC28}" destId="{9E87CB9B-2BEA-4D3D-9675-0C19B8CEE39F}" srcOrd="1" destOrd="0" presId="urn:microsoft.com/office/officeart/2005/8/layout/list1"/>
    <dgm:cxn modelId="{EA794664-BC28-4900-B7B9-34EB8831BBA6}" type="presOf" srcId="{569AB003-3C5D-49A2-AB43-2B65B9FD3BE4}" destId="{60B6FCB1-162D-46EA-9780-DBA53813655D}" srcOrd="1" destOrd="0" presId="urn:microsoft.com/office/officeart/2005/8/layout/list1"/>
    <dgm:cxn modelId="{34F4DA62-64B0-4E2A-915E-EF51F4E935D5}" type="presOf" srcId="{8A4D43AE-63A2-44A7-9ED6-B8742EC1BA91}" destId="{5B18869A-A384-4327-9D60-B4E562E0BB75}" srcOrd="0" destOrd="0" presId="urn:microsoft.com/office/officeart/2005/8/layout/list1"/>
    <dgm:cxn modelId="{39103675-2602-4A89-BF4B-6ED8C5F7F05B}" type="presOf" srcId="{6A655EAD-AA54-4DA2-9E68-3058266E6595}" destId="{7C88D1F9-EDE1-4EAE-88C5-39EC2BE78AA4}" srcOrd="1" destOrd="0" presId="urn:microsoft.com/office/officeart/2005/8/layout/list1"/>
    <dgm:cxn modelId="{DF66FFED-1CFF-47D4-B2F8-1851417A5436}" srcId="{0C15177A-F5DA-4054-A92C-0C1B6AE9D54D}" destId="{569AB003-3C5D-49A2-AB43-2B65B9FD3BE4}" srcOrd="3" destOrd="0" parTransId="{E91DA944-08B4-4D8B-9085-6737EBCE27CF}" sibTransId="{E15D059E-ED75-4FEE-9106-7F8453F9C513}"/>
    <dgm:cxn modelId="{2014EAC8-31B8-4DB6-8822-028AFCBA8B8F}" type="presOf" srcId="{67441B37-7853-4DDC-ACC0-04F64322AADD}" destId="{7E7D660D-66F0-492B-99FC-C2C6D7DCAEBC}" srcOrd="1" destOrd="0" presId="urn:microsoft.com/office/officeart/2005/8/layout/list1"/>
    <dgm:cxn modelId="{ED3AA298-9561-4EAE-97AE-EA6D7E25AC6B}" type="presOf" srcId="{D6335A36-6574-4891-8E73-94BB39684F3A}" destId="{3F67AECE-EA02-4157-A5D4-7DF8FC5A68E2}" srcOrd="1" destOrd="0" presId="urn:microsoft.com/office/officeart/2005/8/layout/list1"/>
    <dgm:cxn modelId="{DE3E9E1D-217D-4206-970E-F1828EB649A6}" type="presOf" srcId="{93A65EB9-834B-47F6-BB6D-D2A358DD6BA9}" destId="{CA3C0F11-5989-4521-B025-D2847DD075C5}" srcOrd="1" destOrd="0" presId="urn:microsoft.com/office/officeart/2005/8/layout/list1"/>
    <dgm:cxn modelId="{3EEC873C-D735-46F8-9FB6-EEE4B8759C56}" srcId="{0C15177A-F5DA-4054-A92C-0C1B6AE9D54D}" destId="{93A65EB9-834B-47F6-BB6D-D2A358DD6BA9}" srcOrd="4" destOrd="0" parTransId="{22DCD5A3-CEF1-4EF4-B7E2-322E4F458026}" sibTransId="{2D676C33-6542-45CA-B83D-3EAB6F8EFF6D}"/>
    <dgm:cxn modelId="{AAD20483-B9F9-4DF9-A371-69765B75980E}" type="presOf" srcId="{8A4D43AE-63A2-44A7-9ED6-B8742EC1BA91}" destId="{A02094EB-6FCE-4070-975A-1FA876D3F2C2}" srcOrd="1" destOrd="0" presId="urn:microsoft.com/office/officeart/2005/8/layout/list1"/>
    <dgm:cxn modelId="{D7D75462-9402-4578-85C9-D8E03459D62A}" type="presOf" srcId="{93A65EB9-834B-47F6-BB6D-D2A358DD6BA9}" destId="{6B247087-1A32-4BB3-A68C-55D64963A829}" srcOrd="0" destOrd="0" presId="urn:microsoft.com/office/officeart/2005/8/layout/list1"/>
    <dgm:cxn modelId="{D4F623F8-1D2B-442C-B22A-3825441ED546}" srcId="{0C15177A-F5DA-4054-A92C-0C1B6AE9D54D}" destId="{67441B37-7853-4DDC-ACC0-04F64322AADD}" srcOrd="5" destOrd="0" parTransId="{2E3F38BC-5F1D-4CA8-86FF-A92AC3178EAF}" sibTransId="{B88A9D9F-FF9A-4724-959C-51E1E999E0F9}"/>
    <dgm:cxn modelId="{76D41C8C-863E-4EEB-91B4-02B011359A23}" type="presOf" srcId="{67441B37-7853-4DDC-ACC0-04F64322AADD}" destId="{868C405F-8EF2-4965-8D6E-4691B5F47FC0}" srcOrd="0" destOrd="0" presId="urn:microsoft.com/office/officeart/2005/8/layout/list1"/>
    <dgm:cxn modelId="{3B7625B9-5242-4541-B09F-D95CBBF8B41A}" type="presOf" srcId="{6A655EAD-AA54-4DA2-9E68-3058266E6595}" destId="{04CBBC16-45A5-4261-B55F-021C383C6CC4}" srcOrd="0" destOrd="0" presId="urn:microsoft.com/office/officeart/2005/8/layout/list1"/>
    <dgm:cxn modelId="{626C9A48-6199-4634-9835-597CD08272C8}" type="presOf" srcId="{569AB003-3C5D-49A2-AB43-2B65B9FD3BE4}" destId="{1261EF64-8AC8-4679-9590-7AB1ED661103}" srcOrd="0" destOrd="0" presId="urn:microsoft.com/office/officeart/2005/8/layout/list1"/>
    <dgm:cxn modelId="{E2D2D01F-D970-4037-8EEB-57430708CE22}" srcId="{0C15177A-F5DA-4054-A92C-0C1B6AE9D54D}" destId="{8A4D43AE-63A2-44A7-9ED6-B8742EC1BA91}" srcOrd="6" destOrd="0" parTransId="{3F34A1D6-CAF4-4F3F-BEED-3BCD7FCDA595}" sibTransId="{352831AA-F2B7-41C3-83F2-FFAF15CB9553}"/>
    <dgm:cxn modelId="{AC912870-18BD-4583-B4C6-005BD9BC9851}" type="presOf" srcId="{D6335A36-6574-4891-8E73-94BB39684F3A}" destId="{57BC3697-AE22-4075-8454-22264DE07757}" srcOrd="0" destOrd="0" presId="urn:microsoft.com/office/officeart/2005/8/layout/list1"/>
    <dgm:cxn modelId="{8F7FDB34-D074-43EC-B4DC-F386CCBFD6AF}" srcId="{0C15177A-F5DA-4054-A92C-0C1B6AE9D54D}" destId="{7F5C9ACF-3ECF-4A75-B1C9-361C32D264AB}" srcOrd="7" destOrd="0" parTransId="{28FF9CDD-C5EE-4B76-A847-ACC539BC10C6}" sibTransId="{58C1B166-7F11-4CA3-9430-BA4920D380E1}"/>
    <dgm:cxn modelId="{5A0CB289-7DCF-46AD-A1E4-B57DCF8141B4}" type="presOf" srcId="{5BC27968-9287-4CBD-97D0-AB9A04496DFC}" destId="{A34D6081-8C90-4961-B756-F6B0F40F0757}" srcOrd="0" destOrd="0" presId="urn:microsoft.com/office/officeart/2005/8/layout/list1"/>
    <dgm:cxn modelId="{881893A8-94FA-43D8-A3F3-9B1DBC228196}" type="presParOf" srcId="{30D9A49E-2717-4B12-8F94-8D60C6139134}" destId="{0BF41092-B00D-43EF-8C6B-2D551A79742D}" srcOrd="0" destOrd="0" presId="urn:microsoft.com/office/officeart/2005/8/layout/list1"/>
    <dgm:cxn modelId="{93F4E061-2702-4633-9203-76EA11295C43}" type="presParOf" srcId="{0BF41092-B00D-43EF-8C6B-2D551A79742D}" destId="{4298B12E-9A2E-4990-B617-63184AFBAA13}" srcOrd="0" destOrd="0" presId="urn:microsoft.com/office/officeart/2005/8/layout/list1"/>
    <dgm:cxn modelId="{B99E849F-52DB-4B68-9606-91C3C6BBA1F4}" type="presParOf" srcId="{0BF41092-B00D-43EF-8C6B-2D551A79742D}" destId="{9E87CB9B-2BEA-4D3D-9675-0C19B8CEE39F}" srcOrd="1" destOrd="0" presId="urn:microsoft.com/office/officeart/2005/8/layout/list1"/>
    <dgm:cxn modelId="{397D0A94-E453-4A07-A4A2-E0E0FF3D29FC}" type="presParOf" srcId="{30D9A49E-2717-4B12-8F94-8D60C6139134}" destId="{AEF25120-A83A-4A52-9968-236565B41679}" srcOrd="1" destOrd="0" presId="urn:microsoft.com/office/officeart/2005/8/layout/list1"/>
    <dgm:cxn modelId="{51FAB569-CC4D-48E9-83A3-70CA9946B56D}" type="presParOf" srcId="{30D9A49E-2717-4B12-8F94-8D60C6139134}" destId="{58ACDEC7-F610-4194-9F26-C89D26DDF209}" srcOrd="2" destOrd="0" presId="urn:microsoft.com/office/officeart/2005/8/layout/list1"/>
    <dgm:cxn modelId="{13BCAF22-6DB2-4F46-B076-3CD34D968199}" type="presParOf" srcId="{30D9A49E-2717-4B12-8F94-8D60C6139134}" destId="{33A4FEEC-1F6B-44C5-B726-D9D291525080}" srcOrd="3" destOrd="0" presId="urn:microsoft.com/office/officeart/2005/8/layout/list1"/>
    <dgm:cxn modelId="{87B2B65E-3093-40DA-BB2F-38F0DDE1C4FD}" type="presParOf" srcId="{30D9A49E-2717-4B12-8F94-8D60C6139134}" destId="{968F3C34-722E-448A-AFA6-247AAC30BDA2}" srcOrd="4" destOrd="0" presId="urn:microsoft.com/office/officeart/2005/8/layout/list1"/>
    <dgm:cxn modelId="{42A4B6C0-D17D-47A5-B4A1-F3B152DDD416}" type="presParOf" srcId="{968F3C34-722E-448A-AFA6-247AAC30BDA2}" destId="{A34D6081-8C90-4961-B756-F6B0F40F0757}" srcOrd="0" destOrd="0" presId="urn:microsoft.com/office/officeart/2005/8/layout/list1"/>
    <dgm:cxn modelId="{47D5238A-95FA-4B4D-9113-778FBF907175}" type="presParOf" srcId="{968F3C34-722E-448A-AFA6-247AAC30BDA2}" destId="{75343646-D25C-4CBB-A0C6-92E55958C239}" srcOrd="1" destOrd="0" presId="urn:microsoft.com/office/officeart/2005/8/layout/list1"/>
    <dgm:cxn modelId="{972438ED-AC7A-49DB-B752-9B6DAE7C0315}" type="presParOf" srcId="{30D9A49E-2717-4B12-8F94-8D60C6139134}" destId="{E12216AB-BDF1-433B-ACA3-9A009B20012B}" srcOrd="5" destOrd="0" presId="urn:microsoft.com/office/officeart/2005/8/layout/list1"/>
    <dgm:cxn modelId="{EA24EF1E-4351-4807-AF59-88BB4B85C630}" type="presParOf" srcId="{30D9A49E-2717-4B12-8F94-8D60C6139134}" destId="{6BC3E02D-AE11-4749-A816-7BCEFAFD16AD}" srcOrd="6" destOrd="0" presId="urn:microsoft.com/office/officeart/2005/8/layout/list1"/>
    <dgm:cxn modelId="{04E0E69D-F5F7-4979-9886-AAC930EDFED5}" type="presParOf" srcId="{30D9A49E-2717-4B12-8F94-8D60C6139134}" destId="{0B27876D-7AFD-4041-8AF0-647DF912CDEA}" srcOrd="7" destOrd="0" presId="urn:microsoft.com/office/officeart/2005/8/layout/list1"/>
    <dgm:cxn modelId="{1EE3D93F-D653-46C5-9035-28362A0098F5}" type="presParOf" srcId="{30D9A49E-2717-4B12-8F94-8D60C6139134}" destId="{921706A8-A251-483B-AAA8-EE537A835782}" srcOrd="8" destOrd="0" presId="urn:microsoft.com/office/officeart/2005/8/layout/list1"/>
    <dgm:cxn modelId="{6478F542-2ED7-4FEC-AE68-A4C58F3B4618}" type="presParOf" srcId="{921706A8-A251-483B-AAA8-EE537A835782}" destId="{57BC3697-AE22-4075-8454-22264DE07757}" srcOrd="0" destOrd="0" presId="urn:microsoft.com/office/officeart/2005/8/layout/list1"/>
    <dgm:cxn modelId="{92F448F1-FA02-4D2F-890F-C5FF5622F08B}" type="presParOf" srcId="{921706A8-A251-483B-AAA8-EE537A835782}" destId="{3F67AECE-EA02-4157-A5D4-7DF8FC5A68E2}" srcOrd="1" destOrd="0" presId="urn:microsoft.com/office/officeart/2005/8/layout/list1"/>
    <dgm:cxn modelId="{863E0698-280E-45A2-A8A0-7C51FDDE1638}" type="presParOf" srcId="{30D9A49E-2717-4B12-8F94-8D60C6139134}" destId="{2982DBA8-57E1-49F8-A504-E809F80DD98F}" srcOrd="9" destOrd="0" presId="urn:microsoft.com/office/officeart/2005/8/layout/list1"/>
    <dgm:cxn modelId="{0762B029-B8BD-47B7-97B9-E20C6E82E7BF}" type="presParOf" srcId="{30D9A49E-2717-4B12-8F94-8D60C6139134}" destId="{E45634DA-F1B6-4293-ACEF-8A5B284BAAE2}" srcOrd="10" destOrd="0" presId="urn:microsoft.com/office/officeart/2005/8/layout/list1"/>
    <dgm:cxn modelId="{B987FD1F-4784-4EE4-A285-D955A4211FB2}" type="presParOf" srcId="{30D9A49E-2717-4B12-8F94-8D60C6139134}" destId="{0442FB34-1CB9-4451-87CD-9A88DA844296}" srcOrd="11" destOrd="0" presId="urn:microsoft.com/office/officeart/2005/8/layout/list1"/>
    <dgm:cxn modelId="{DC192EE1-F913-4EEF-BD21-34285EEFD24B}" type="presParOf" srcId="{30D9A49E-2717-4B12-8F94-8D60C6139134}" destId="{722C98DA-D35F-47DF-86C3-5BA2130F0829}" srcOrd="12" destOrd="0" presId="urn:microsoft.com/office/officeart/2005/8/layout/list1"/>
    <dgm:cxn modelId="{F99777E5-29DA-4B53-A09E-251817DA9DA1}" type="presParOf" srcId="{722C98DA-D35F-47DF-86C3-5BA2130F0829}" destId="{1261EF64-8AC8-4679-9590-7AB1ED661103}" srcOrd="0" destOrd="0" presId="urn:microsoft.com/office/officeart/2005/8/layout/list1"/>
    <dgm:cxn modelId="{08B7A288-454C-4E5F-A73C-D529AC735CEC}" type="presParOf" srcId="{722C98DA-D35F-47DF-86C3-5BA2130F0829}" destId="{60B6FCB1-162D-46EA-9780-DBA53813655D}" srcOrd="1" destOrd="0" presId="urn:microsoft.com/office/officeart/2005/8/layout/list1"/>
    <dgm:cxn modelId="{FF29A480-890D-43FA-8648-61E85E65A628}" type="presParOf" srcId="{30D9A49E-2717-4B12-8F94-8D60C6139134}" destId="{EE7CB0F1-A576-4F62-920B-D7A06560EDC3}" srcOrd="13" destOrd="0" presId="urn:microsoft.com/office/officeart/2005/8/layout/list1"/>
    <dgm:cxn modelId="{409E954E-DDF2-43A7-8E1A-0C3304E926FA}" type="presParOf" srcId="{30D9A49E-2717-4B12-8F94-8D60C6139134}" destId="{B2B52EC9-6359-42F0-B10D-593152C41EC7}" srcOrd="14" destOrd="0" presId="urn:microsoft.com/office/officeart/2005/8/layout/list1"/>
    <dgm:cxn modelId="{40B6B0EC-6231-4CF2-A3AA-79D8CBAAB00E}" type="presParOf" srcId="{30D9A49E-2717-4B12-8F94-8D60C6139134}" destId="{C54F56E9-5749-49A4-B2D8-45E661B0D1D0}" srcOrd="15" destOrd="0" presId="urn:microsoft.com/office/officeart/2005/8/layout/list1"/>
    <dgm:cxn modelId="{69F0D6C1-47E2-48B7-A39D-A71CED17B008}" type="presParOf" srcId="{30D9A49E-2717-4B12-8F94-8D60C6139134}" destId="{98BB8999-EC1E-489C-94E4-786D60ECE5CE}" srcOrd="16" destOrd="0" presId="urn:microsoft.com/office/officeart/2005/8/layout/list1"/>
    <dgm:cxn modelId="{71D059CD-E32C-43C2-B06D-B64610BA9275}" type="presParOf" srcId="{98BB8999-EC1E-489C-94E4-786D60ECE5CE}" destId="{6B247087-1A32-4BB3-A68C-55D64963A829}" srcOrd="0" destOrd="0" presId="urn:microsoft.com/office/officeart/2005/8/layout/list1"/>
    <dgm:cxn modelId="{63275FB4-34F6-4A47-A400-2A40DB6BDE0A}" type="presParOf" srcId="{98BB8999-EC1E-489C-94E4-786D60ECE5CE}" destId="{CA3C0F11-5989-4521-B025-D2847DD075C5}" srcOrd="1" destOrd="0" presId="urn:microsoft.com/office/officeart/2005/8/layout/list1"/>
    <dgm:cxn modelId="{15B355FA-5680-492E-AA40-EAB6A03996F0}" type="presParOf" srcId="{30D9A49E-2717-4B12-8F94-8D60C6139134}" destId="{967E1079-58C4-4560-B3B7-16587C3DB1AA}" srcOrd="17" destOrd="0" presId="urn:microsoft.com/office/officeart/2005/8/layout/list1"/>
    <dgm:cxn modelId="{B556A26D-7288-4698-8AC2-333E96A44842}" type="presParOf" srcId="{30D9A49E-2717-4B12-8F94-8D60C6139134}" destId="{F53F04FF-EC44-497D-8CFA-AAFF9A3C258E}" srcOrd="18" destOrd="0" presId="urn:microsoft.com/office/officeart/2005/8/layout/list1"/>
    <dgm:cxn modelId="{09E0137B-C9D6-4063-9E7E-ACE3F0E8D438}" type="presParOf" srcId="{30D9A49E-2717-4B12-8F94-8D60C6139134}" destId="{4F1E0E9D-4859-460A-BA19-288B28DF3CCC}" srcOrd="19" destOrd="0" presId="urn:microsoft.com/office/officeart/2005/8/layout/list1"/>
    <dgm:cxn modelId="{B92F081D-3DE0-4F91-9C4B-CC51662C826F}" type="presParOf" srcId="{30D9A49E-2717-4B12-8F94-8D60C6139134}" destId="{397FA466-6696-4A01-8F43-E854FC4D2C1F}" srcOrd="20" destOrd="0" presId="urn:microsoft.com/office/officeart/2005/8/layout/list1"/>
    <dgm:cxn modelId="{EB1A5BF5-0559-498E-AD7E-05E4E6C96B5C}" type="presParOf" srcId="{397FA466-6696-4A01-8F43-E854FC4D2C1F}" destId="{868C405F-8EF2-4965-8D6E-4691B5F47FC0}" srcOrd="0" destOrd="0" presId="urn:microsoft.com/office/officeart/2005/8/layout/list1"/>
    <dgm:cxn modelId="{A00FF861-ECC9-4595-BE61-0DB368A96102}" type="presParOf" srcId="{397FA466-6696-4A01-8F43-E854FC4D2C1F}" destId="{7E7D660D-66F0-492B-99FC-C2C6D7DCAEBC}" srcOrd="1" destOrd="0" presId="urn:microsoft.com/office/officeart/2005/8/layout/list1"/>
    <dgm:cxn modelId="{3919277A-B21B-4549-8104-A252E235A73D}" type="presParOf" srcId="{30D9A49E-2717-4B12-8F94-8D60C6139134}" destId="{FC2127B3-01B1-4582-8B45-8A5E5EFA09C0}" srcOrd="21" destOrd="0" presId="urn:microsoft.com/office/officeart/2005/8/layout/list1"/>
    <dgm:cxn modelId="{2798D304-489E-4D1D-90A0-6D845470668E}" type="presParOf" srcId="{30D9A49E-2717-4B12-8F94-8D60C6139134}" destId="{CA9BE46D-3286-4E7C-BD35-A68F0101C418}" srcOrd="22" destOrd="0" presId="urn:microsoft.com/office/officeart/2005/8/layout/list1"/>
    <dgm:cxn modelId="{AD8861EF-C7C1-4ADA-89C4-0E544B3F0023}" type="presParOf" srcId="{30D9A49E-2717-4B12-8F94-8D60C6139134}" destId="{0DBBFD66-5297-4422-B4F6-89B3469755AE}" srcOrd="23" destOrd="0" presId="urn:microsoft.com/office/officeart/2005/8/layout/list1"/>
    <dgm:cxn modelId="{DDE5B9E9-56C0-4941-85B9-F154FB9ACE88}" type="presParOf" srcId="{30D9A49E-2717-4B12-8F94-8D60C6139134}" destId="{57BAC3DD-0F8D-4F72-806D-851EAE969FA5}" srcOrd="24" destOrd="0" presId="urn:microsoft.com/office/officeart/2005/8/layout/list1"/>
    <dgm:cxn modelId="{4EBF5FE9-DAC2-41AD-A234-4C42C1CA9E9D}" type="presParOf" srcId="{57BAC3DD-0F8D-4F72-806D-851EAE969FA5}" destId="{5B18869A-A384-4327-9D60-B4E562E0BB75}" srcOrd="0" destOrd="0" presId="urn:microsoft.com/office/officeart/2005/8/layout/list1"/>
    <dgm:cxn modelId="{8BEFF462-A312-4F15-80CF-602D866201A7}" type="presParOf" srcId="{57BAC3DD-0F8D-4F72-806D-851EAE969FA5}" destId="{A02094EB-6FCE-4070-975A-1FA876D3F2C2}" srcOrd="1" destOrd="0" presId="urn:microsoft.com/office/officeart/2005/8/layout/list1"/>
    <dgm:cxn modelId="{12CCAFA0-D440-4833-AB36-4D23018D5098}" type="presParOf" srcId="{30D9A49E-2717-4B12-8F94-8D60C6139134}" destId="{B4DA8554-E211-459C-83F0-1172B2084034}" srcOrd="25" destOrd="0" presId="urn:microsoft.com/office/officeart/2005/8/layout/list1"/>
    <dgm:cxn modelId="{AA44EF0C-6288-4EF9-99BD-1DB2EF79F586}" type="presParOf" srcId="{30D9A49E-2717-4B12-8F94-8D60C6139134}" destId="{6DB02799-A699-453E-86AF-F4501191D8CA}" srcOrd="26" destOrd="0" presId="urn:microsoft.com/office/officeart/2005/8/layout/list1"/>
    <dgm:cxn modelId="{2AB7C129-B393-4443-ADE0-B4C4050664CC}" type="presParOf" srcId="{30D9A49E-2717-4B12-8F94-8D60C6139134}" destId="{B6085D7E-09EE-4AC4-9C01-B138DB14A304}" srcOrd="27" destOrd="0" presId="urn:microsoft.com/office/officeart/2005/8/layout/list1"/>
    <dgm:cxn modelId="{27C8605E-85FB-4A4E-8276-D4E1D9E424B0}" type="presParOf" srcId="{30D9A49E-2717-4B12-8F94-8D60C6139134}" destId="{03897E47-748B-42DC-B0C1-B8374DC65B07}" srcOrd="28" destOrd="0" presId="urn:microsoft.com/office/officeart/2005/8/layout/list1"/>
    <dgm:cxn modelId="{6E48E5A6-C6A2-4219-978F-DBE5D687BF3B}" type="presParOf" srcId="{03897E47-748B-42DC-B0C1-B8374DC65B07}" destId="{0FEBEF39-D86C-4B0A-9725-9418B69FABFE}" srcOrd="0" destOrd="0" presId="urn:microsoft.com/office/officeart/2005/8/layout/list1"/>
    <dgm:cxn modelId="{46184028-B368-4FB8-919A-60E6E1E2B5C4}" type="presParOf" srcId="{03897E47-748B-42DC-B0C1-B8374DC65B07}" destId="{6C4B8ED1-6E30-4259-B5EC-1AB5711D8063}" srcOrd="1" destOrd="0" presId="urn:microsoft.com/office/officeart/2005/8/layout/list1"/>
    <dgm:cxn modelId="{F7847A4F-3673-41C1-964A-92878831C220}" type="presParOf" srcId="{30D9A49E-2717-4B12-8F94-8D60C6139134}" destId="{24A1A2F5-4620-4218-8CE2-240C10AC4003}" srcOrd="29" destOrd="0" presId="urn:microsoft.com/office/officeart/2005/8/layout/list1"/>
    <dgm:cxn modelId="{134612D4-E18A-41FB-9085-E48992C197D3}" type="presParOf" srcId="{30D9A49E-2717-4B12-8F94-8D60C6139134}" destId="{973B9785-E76C-4B26-8B38-A9696EE9B10E}" srcOrd="30" destOrd="0" presId="urn:microsoft.com/office/officeart/2005/8/layout/list1"/>
    <dgm:cxn modelId="{A1D6FF32-6461-462F-B282-31CC7D83070B}" type="presParOf" srcId="{30D9A49E-2717-4B12-8F94-8D60C6139134}" destId="{DBB0CAF2-43A1-4AE8-BF68-9AA0D13169D8}" srcOrd="31" destOrd="0" presId="urn:microsoft.com/office/officeart/2005/8/layout/list1"/>
    <dgm:cxn modelId="{7C8B5221-BE8D-4A02-AA97-E6B0082D655D}" type="presParOf" srcId="{30D9A49E-2717-4B12-8F94-8D60C6139134}" destId="{64D7C588-5111-4BEA-95D3-D91F0AAE675C}" srcOrd="32" destOrd="0" presId="urn:microsoft.com/office/officeart/2005/8/layout/list1"/>
    <dgm:cxn modelId="{D2C08054-DD32-4F7C-9421-0501FA6FC2F0}" type="presParOf" srcId="{64D7C588-5111-4BEA-95D3-D91F0AAE675C}" destId="{04CBBC16-45A5-4261-B55F-021C383C6CC4}" srcOrd="0" destOrd="0" presId="urn:microsoft.com/office/officeart/2005/8/layout/list1"/>
    <dgm:cxn modelId="{9308D066-E08B-481D-9699-EB9DC832F2BC}" type="presParOf" srcId="{64D7C588-5111-4BEA-95D3-D91F0AAE675C}" destId="{7C88D1F9-EDE1-4EAE-88C5-39EC2BE78AA4}" srcOrd="1" destOrd="0" presId="urn:microsoft.com/office/officeart/2005/8/layout/list1"/>
    <dgm:cxn modelId="{3165BCF4-ED92-4AE7-9D76-2CDFA8034A12}" type="presParOf" srcId="{30D9A49E-2717-4B12-8F94-8D60C6139134}" destId="{EE8FC56E-4BD5-4B96-A411-8E58F100E8BF}" srcOrd="33" destOrd="0" presId="urn:microsoft.com/office/officeart/2005/8/layout/list1"/>
    <dgm:cxn modelId="{D6231A95-B37A-48B7-B498-C78F9C84D6B6}" type="presParOf" srcId="{30D9A49E-2717-4B12-8F94-8D60C6139134}" destId="{0934393B-8116-4D8D-9EDA-3A67ED4C1E5C}" srcOrd="34" destOrd="0" presId="urn:microsoft.com/office/officeart/2005/8/layout/lis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C15177A-F5DA-4054-A92C-0C1B6AE9D54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BC27968-9287-4CBD-97D0-AB9A04496DFC}">
      <dgm:prSet phldrT="[Текст]"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ПОВЫШЕНИЕ КВАЛИФИКАЦИИ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8FC096D4-8D51-4446-90CD-D9AFFADD2555}" type="parTrans" cxnId="{97935727-2762-4072-BE14-79A3271F616E}">
      <dgm:prSet/>
      <dgm:spPr/>
      <dgm:t>
        <a:bodyPr/>
        <a:lstStyle/>
        <a:p>
          <a:endParaRPr lang="ru-RU"/>
        </a:p>
      </dgm:t>
    </dgm:pt>
    <dgm:pt modelId="{70002953-73B4-4915-AE6E-59200FEEB633}" type="sibTrans" cxnId="{97935727-2762-4072-BE14-79A3271F616E}">
      <dgm:prSet/>
      <dgm:spPr/>
      <dgm:t>
        <a:bodyPr/>
        <a:lstStyle/>
        <a:p>
          <a:endParaRPr lang="ru-RU"/>
        </a:p>
      </dgm:t>
    </dgm:pt>
    <dgm:pt modelId="{569AB003-3C5D-49A2-AB43-2B65B9FD3BE4}">
      <dgm:prSet phldrT="[Текст]"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УЧАСТИЕ В НАУЧНО-ПРАКТИЧЕСКИХ КОНФЕРЕНЦИЯХ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E91DA944-08B4-4D8B-9085-6737EBCE27CF}" type="parTrans" cxnId="{DF66FFED-1CFF-47D4-B2F8-1851417A5436}">
      <dgm:prSet/>
      <dgm:spPr/>
      <dgm:t>
        <a:bodyPr/>
        <a:lstStyle/>
        <a:p>
          <a:endParaRPr lang="ru-RU"/>
        </a:p>
      </dgm:t>
    </dgm:pt>
    <dgm:pt modelId="{E15D059E-ED75-4FEE-9106-7F8453F9C513}" type="sibTrans" cxnId="{DF66FFED-1CFF-47D4-B2F8-1851417A5436}">
      <dgm:prSet/>
      <dgm:spPr/>
      <dgm:t>
        <a:bodyPr/>
        <a:lstStyle/>
        <a:p>
          <a:endParaRPr lang="ru-RU"/>
        </a:p>
      </dgm:t>
    </dgm:pt>
    <dgm:pt modelId="{93A65EB9-834B-47F6-BB6D-D2A358DD6BA9}">
      <dgm:prSet phldrT="[Текст]"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НАСТАВНИЧЕСТВО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22DCD5A3-CEF1-4EF4-B7E2-322E4F458026}" type="parTrans" cxnId="{3EEC873C-D735-46F8-9FB6-EEE4B8759C56}">
      <dgm:prSet/>
      <dgm:spPr/>
      <dgm:t>
        <a:bodyPr/>
        <a:lstStyle/>
        <a:p>
          <a:endParaRPr lang="ru-RU"/>
        </a:p>
      </dgm:t>
    </dgm:pt>
    <dgm:pt modelId="{2D676C33-6542-45CA-B83D-3EAB6F8EFF6D}" type="sibTrans" cxnId="{3EEC873C-D735-46F8-9FB6-EEE4B8759C56}">
      <dgm:prSet/>
      <dgm:spPr/>
      <dgm:t>
        <a:bodyPr/>
        <a:lstStyle/>
        <a:p>
          <a:endParaRPr lang="ru-RU"/>
        </a:p>
      </dgm:t>
    </dgm:pt>
    <dgm:pt modelId="{67441B37-7853-4DDC-ACC0-04F64322AADD}">
      <dgm:prSet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БЕСПРОЦЕНТНЫЕ ОБРАЗОВАТЕЛЬНЫЕ ЗАЙМЫ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2E3F38BC-5F1D-4CA8-86FF-A92AC3178EAF}" type="parTrans" cxnId="{D4F623F8-1D2B-442C-B22A-3825441ED546}">
      <dgm:prSet/>
      <dgm:spPr/>
      <dgm:t>
        <a:bodyPr/>
        <a:lstStyle/>
        <a:p>
          <a:endParaRPr lang="ru-RU"/>
        </a:p>
      </dgm:t>
    </dgm:pt>
    <dgm:pt modelId="{B88A9D9F-FF9A-4724-959C-51E1E999E0F9}" type="sibTrans" cxnId="{D4F623F8-1D2B-442C-B22A-3825441ED546}">
      <dgm:prSet/>
      <dgm:spPr/>
      <dgm:t>
        <a:bodyPr/>
        <a:lstStyle/>
        <a:p>
          <a:endParaRPr lang="ru-RU"/>
        </a:p>
      </dgm:t>
    </dgm:pt>
    <dgm:pt modelId="{8A4D43AE-63A2-44A7-9ED6-B8742EC1BA91}">
      <dgm:prSet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УЧАСТИЕ В КОНКУРСЕ «ЛУЧШИЙ ПО ПРОФЕССИИ»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352831AA-F2B7-41C3-83F2-FFAF15CB9553}" type="sibTrans" cxnId="{E2D2D01F-D970-4037-8EEB-57430708CE22}">
      <dgm:prSet/>
      <dgm:spPr/>
      <dgm:t>
        <a:bodyPr/>
        <a:lstStyle/>
        <a:p>
          <a:endParaRPr lang="ru-RU"/>
        </a:p>
      </dgm:t>
    </dgm:pt>
    <dgm:pt modelId="{3F34A1D6-CAF4-4F3F-BEED-3BCD7FCDA595}" type="parTrans" cxnId="{E2D2D01F-D970-4037-8EEB-57430708CE22}">
      <dgm:prSet/>
      <dgm:spPr/>
      <dgm:t>
        <a:bodyPr/>
        <a:lstStyle/>
        <a:p>
          <a:endParaRPr lang="ru-RU"/>
        </a:p>
      </dgm:t>
    </dgm:pt>
    <dgm:pt modelId="{C4687F73-BEA4-404B-8E05-B4FCA9429E1C}">
      <dgm:prSet custT="1"/>
      <dgm:spPr>
        <a:solidFill>
          <a:srgbClr val="FFC000">
            <a:alpha val="41000"/>
          </a:srgbClr>
        </a:solidFill>
      </dgm:spPr>
      <dgm:t>
        <a:bodyPr/>
        <a:lstStyle/>
        <a:p>
          <a:r>
            <a:rPr lang="ru-RU" sz="1800" b="1" dirty="0" smtClean="0">
              <a:solidFill>
                <a:schemeClr val="tx1"/>
              </a:solidFill>
              <a:latin typeface="+mj-lt"/>
            </a:rPr>
            <a:t>КАРЬЕРНЫЙ РОСТ, РОТАЦИЯ</a:t>
          </a:r>
          <a:endParaRPr lang="ru-RU" sz="1800" b="1" dirty="0">
            <a:solidFill>
              <a:schemeClr val="tx1"/>
            </a:solidFill>
            <a:latin typeface="+mj-lt"/>
          </a:endParaRPr>
        </a:p>
      </dgm:t>
    </dgm:pt>
    <dgm:pt modelId="{2AB3DBAD-2319-4417-BF94-A114A6642952}" type="parTrans" cxnId="{6189512A-6EEB-40DA-A00A-D0A515119B14}">
      <dgm:prSet/>
      <dgm:spPr/>
      <dgm:t>
        <a:bodyPr/>
        <a:lstStyle/>
        <a:p>
          <a:endParaRPr lang="ru-RU"/>
        </a:p>
      </dgm:t>
    </dgm:pt>
    <dgm:pt modelId="{6BE905E0-55CA-44D2-8C00-C513C8814C5A}" type="sibTrans" cxnId="{6189512A-6EEB-40DA-A00A-D0A515119B14}">
      <dgm:prSet/>
      <dgm:spPr/>
      <dgm:t>
        <a:bodyPr/>
        <a:lstStyle/>
        <a:p>
          <a:endParaRPr lang="ru-RU"/>
        </a:p>
      </dgm:t>
    </dgm:pt>
    <dgm:pt modelId="{30D9A49E-2717-4B12-8F94-8D60C6139134}" type="pres">
      <dgm:prSet presAssocID="{0C15177A-F5DA-4054-A92C-0C1B6AE9D54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68F3C34-722E-448A-AFA6-247AAC30BDA2}" type="pres">
      <dgm:prSet presAssocID="{5BC27968-9287-4CBD-97D0-AB9A04496DFC}" presName="parentLin" presStyleCnt="0"/>
      <dgm:spPr/>
    </dgm:pt>
    <dgm:pt modelId="{A34D6081-8C90-4961-B756-F6B0F40F0757}" type="pres">
      <dgm:prSet presAssocID="{5BC27968-9287-4CBD-97D0-AB9A04496DFC}" presName="parentLeftMargin" presStyleLbl="node1" presStyleIdx="0" presStyleCnt="6"/>
      <dgm:spPr/>
      <dgm:t>
        <a:bodyPr/>
        <a:lstStyle/>
        <a:p>
          <a:endParaRPr lang="ru-RU"/>
        </a:p>
      </dgm:t>
    </dgm:pt>
    <dgm:pt modelId="{75343646-D25C-4CBB-A0C6-92E55958C239}" type="pres">
      <dgm:prSet presAssocID="{5BC27968-9287-4CBD-97D0-AB9A04496DFC}" presName="parentText" presStyleLbl="node1" presStyleIdx="0" presStyleCnt="6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2216AB-BDF1-433B-ACA3-9A009B20012B}" type="pres">
      <dgm:prSet presAssocID="{5BC27968-9287-4CBD-97D0-AB9A04496DFC}" presName="negativeSpace" presStyleCnt="0"/>
      <dgm:spPr/>
    </dgm:pt>
    <dgm:pt modelId="{6BC3E02D-AE11-4749-A816-7BCEFAFD16AD}" type="pres">
      <dgm:prSet presAssocID="{5BC27968-9287-4CBD-97D0-AB9A04496DFC}" presName="childText" presStyleLbl="conFgAcc1" presStyleIdx="0" presStyleCnt="6">
        <dgm:presLayoutVars>
          <dgm:bulletEnabled val="1"/>
        </dgm:presLayoutVars>
      </dgm:prSet>
      <dgm:spPr>
        <a:noFill/>
      </dgm:spPr>
    </dgm:pt>
    <dgm:pt modelId="{0B27876D-7AFD-4041-8AF0-647DF912CDEA}" type="pres">
      <dgm:prSet presAssocID="{70002953-73B4-4915-AE6E-59200FEEB633}" presName="spaceBetweenRectangles" presStyleCnt="0"/>
      <dgm:spPr/>
    </dgm:pt>
    <dgm:pt modelId="{722C98DA-D35F-47DF-86C3-5BA2130F0829}" type="pres">
      <dgm:prSet presAssocID="{569AB003-3C5D-49A2-AB43-2B65B9FD3BE4}" presName="parentLin" presStyleCnt="0"/>
      <dgm:spPr/>
    </dgm:pt>
    <dgm:pt modelId="{1261EF64-8AC8-4679-9590-7AB1ED661103}" type="pres">
      <dgm:prSet presAssocID="{569AB003-3C5D-49A2-AB43-2B65B9FD3BE4}" presName="parentLeftMargin" presStyleLbl="node1" presStyleIdx="0" presStyleCnt="6"/>
      <dgm:spPr/>
      <dgm:t>
        <a:bodyPr/>
        <a:lstStyle/>
        <a:p>
          <a:endParaRPr lang="ru-RU"/>
        </a:p>
      </dgm:t>
    </dgm:pt>
    <dgm:pt modelId="{60B6FCB1-162D-46EA-9780-DBA53813655D}" type="pres">
      <dgm:prSet presAssocID="{569AB003-3C5D-49A2-AB43-2B65B9FD3BE4}" presName="parentText" presStyleLbl="node1" presStyleIdx="1" presStyleCnt="6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E7CB0F1-A576-4F62-920B-D7A06560EDC3}" type="pres">
      <dgm:prSet presAssocID="{569AB003-3C5D-49A2-AB43-2B65B9FD3BE4}" presName="negativeSpace" presStyleCnt="0"/>
      <dgm:spPr/>
    </dgm:pt>
    <dgm:pt modelId="{B2B52EC9-6359-42F0-B10D-593152C41EC7}" type="pres">
      <dgm:prSet presAssocID="{569AB003-3C5D-49A2-AB43-2B65B9FD3BE4}" presName="childText" presStyleLbl="conFgAcc1" presStyleIdx="1" presStyleCnt="6">
        <dgm:presLayoutVars>
          <dgm:bulletEnabled val="1"/>
        </dgm:presLayoutVars>
      </dgm:prSet>
      <dgm:spPr>
        <a:noFill/>
      </dgm:spPr>
    </dgm:pt>
    <dgm:pt modelId="{C54F56E9-5749-49A4-B2D8-45E661B0D1D0}" type="pres">
      <dgm:prSet presAssocID="{E15D059E-ED75-4FEE-9106-7F8453F9C513}" presName="spaceBetweenRectangles" presStyleCnt="0"/>
      <dgm:spPr/>
    </dgm:pt>
    <dgm:pt modelId="{98BB8999-EC1E-489C-94E4-786D60ECE5CE}" type="pres">
      <dgm:prSet presAssocID="{93A65EB9-834B-47F6-BB6D-D2A358DD6BA9}" presName="parentLin" presStyleCnt="0"/>
      <dgm:spPr/>
    </dgm:pt>
    <dgm:pt modelId="{6B247087-1A32-4BB3-A68C-55D64963A829}" type="pres">
      <dgm:prSet presAssocID="{93A65EB9-834B-47F6-BB6D-D2A358DD6BA9}" presName="parentLeftMargin" presStyleLbl="node1" presStyleIdx="1" presStyleCnt="6"/>
      <dgm:spPr/>
      <dgm:t>
        <a:bodyPr/>
        <a:lstStyle/>
        <a:p>
          <a:endParaRPr lang="ru-RU"/>
        </a:p>
      </dgm:t>
    </dgm:pt>
    <dgm:pt modelId="{CA3C0F11-5989-4521-B025-D2847DD075C5}" type="pres">
      <dgm:prSet presAssocID="{93A65EB9-834B-47F6-BB6D-D2A358DD6BA9}" presName="parentText" presStyleLbl="node1" presStyleIdx="2" presStyleCnt="6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7E1079-58C4-4560-B3B7-16587C3DB1AA}" type="pres">
      <dgm:prSet presAssocID="{93A65EB9-834B-47F6-BB6D-D2A358DD6BA9}" presName="negativeSpace" presStyleCnt="0"/>
      <dgm:spPr/>
    </dgm:pt>
    <dgm:pt modelId="{F53F04FF-EC44-497D-8CFA-AAFF9A3C258E}" type="pres">
      <dgm:prSet presAssocID="{93A65EB9-834B-47F6-BB6D-D2A358DD6BA9}" presName="childText" presStyleLbl="conFgAcc1" presStyleIdx="2" presStyleCnt="6">
        <dgm:presLayoutVars>
          <dgm:bulletEnabled val="1"/>
        </dgm:presLayoutVars>
      </dgm:prSet>
      <dgm:spPr>
        <a:noFill/>
      </dgm:spPr>
    </dgm:pt>
    <dgm:pt modelId="{4F1E0E9D-4859-460A-BA19-288B28DF3CCC}" type="pres">
      <dgm:prSet presAssocID="{2D676C33-6542-45CA-B83D-3EAB6F8EFF6D}" presName="spaceBetweenRectangles" presStyleCnt="0"/>
      <dgm:spPr/>
    </dgm:pt>
    <dgm:pt modelId="{397FA466-6696-4A01-8F43-E854FC4D2C1F}" type="pres">
      <dgm:prSet presAssocID="{67441B37-7853-4DDC-ACC0-04F64322AADD}" presName="parentLin" presStyleCnt="0"/>
      <dgm:spPr/>
    </dgm:pt>
    <dgm:pt modelId="{868C405F-8EF2-4965-8D6E-4691B5F47FC0}" type="pres">
      <dgm:prSet presAssocID="{67441B37-7853-4DDC-ACC0-04F64322AADD}" presName="parentLeftMargin" presStyleLbl="node1" presStyleIdx="2" presStyleCnt="6"/>
      <dgm:spPr/>
      <dgm:t>
        <a:bodyPr/>
        <a:lstStyle/>
        <a:p>
          <a:endParaRPr lang="ru-RU"/>
        </a:p>
      </dgm:t>
    </dgm:pt>
    <dgm:pt modelId="{7E7D660D-66F0-492B-99FC-C2C6D7DCAEBC}" type="pres">
      <dgm:prSet presAssocID="{67441B37-7853-4DDC-ACC0-04F64322AADD}" presName="parentText" presStyleLbl="node1" presStyleIdx="3" presStyleCnt="6" custScaleX="142857" custLinFactNeighborX="-666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C2127B3-01B1-4582-8B45-8A5E5EFA09C0}" type="pres">
      <dgm:prSet presAssocID="{67441B37-7853-4DDC-ACC0-04F64322AADD}" presName="negativeSpace" presStyleCnt="0"/>
      <dgm:spPr/>
    </dgm:pt>
    <dgm:pt modelId="{CA9BE46D-3286-4E7C-BD35-A68F0101C418}" type="pres">
      <dgm:prSet presAssocID="{67441B37-7853-4DDC-ACC0-04F64322AADD}" presName="childText" presStyleLbl="conFgAcc1" presStyleIdx="3" presStyleCnt="6">
        <dgm:presLayoutVars>
          <dgm:bulletEnabled val="1"/>
        </dgm:presLayoutVars>
      </dgm:prSet>
      <dgm:spPr>
        <a:noFill/>
      </dgm:spPr>
    </dgm:pt>
    <dgm:pt modelId="{0DBBFD66-5297-4422-B4F6-89B3469755AE}" type="pres">
      <dgm:prSet presAssocID="{B88A9D9F-FF9A-4724-959C-51E1E999E0F9}" presName="spaceBetweenRectangles" presStyleCnt="0"/>
      <dgm:spPr/>
    </dgm:pt>
    <dgm:pt modelId="{57BAC3DD-0F8D-4F72-806D-851EAE969FA5}" type="pres">
      <dgm:prSet presAssocID="{8A4D43AE-63A2-44A7-9ED6-B8742EC1BA91}" presName="parentLin" presStyleCnt="0"/>
      <dgm:spPr/>
    </dgm:pt>
    <dgm:pt modelId="{5B18869A-A384-4327-9D60-B4E562E0BB75}" type="pres">
      <dgm:prSet presAssocID="{8A4D43AE-63A2-44A7-9ED6-B8742EC1BA91}" presName="parentLeftMargin" presStyleLbl="node1" presStyleIdx="3" presStyleCnt="6"/>
      <dgm:spPr/>
      <dgm:t>
        <a:bodyPr/>
        <a:lstStyle/>
        <a:p>
          <a:endParaRPr lang="ru-RU"/>
        </a:p>
      </dgm:t>
    </dgm:pt>
    <dgm:pt modelId="{A02094EB-6FCE-4070-975A-1FA876D3F2C2}" type="pres">
      <dgm:prSet presAssocID="{8A4D43AE-63A2-44A7-9ED6-B8742EC1BA91}" presName="parentText" presStyleLbl="node1" presStyleIdx="4" presStyleCnt="6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4DA8554-E211-459C-83F0-1172B2084034}" type="pres">
      <dgm:prSet presAssocID="{8A4D43AE-63A2-44A7-9ED6-B8742EC1BA91}" presName="negativeSpace" presStyleCnt="0"/>
      <dgm:spPr/>
    </dgm:pt>
    <dgm:pt modelId="{6DB02799-A699-453E-86AF-F4501191D8CA}" type="pres">
      <dgm:prSet presAssocID="{8A4D43AE-63A2-44A7-9ED6-B8742EC1BA91}" presName="childText" presStyleLbl="conFgAcc1" presStyleIdx="4" presStyleCnt="6">
        <dgm:presLayoutVars>
          <dgm:bulletEnabled val="1"/>
        </dgm:presLayoutVars>
      </dgm:prSet>
      <dgm:spPr>
        <a:noFill/>
      </dgm:spPr>
    </dgm:pt>
    <dgm:pt modelId="{BA6A7A5D-5EFC-4D78-84DC-9CBBF79B36BA}" type="pres">
      <dgm:prSet presAssocID="{352831AA-F2B7-41C3-83F2-FFAF15CB9553}" presName="spaceBetweenRectangles" presStyleCnt="0"/>
      <dgm:spPr/>
    </dgm:pt>
    <dgm:pt modelId="{D3960897-C9B2-4292-B5F6-FBB8C5B66AAB}" type="pres">
      <dgm:prSet presAssocID="{C4687F73-BEA4-404B-8E05-B4FCA9429E1C}" presName="parentLin" presStyleCnt="0"/>
      <dgm:spPr/>
    </dgm:pt>
    <dgm:pt modelId="{6CBADFDF-C296-4046-A61F-CC87C3EE81EA}" type="pres">
      <dgm:prSet presAssocID="{C4687F73-BEA4-404B-8E05-B4FCA9429E1C}" presName="parentLeftMargin" presStyleLbl="node1" presStyleIdx="4" presStyleCnt="6"/>
      <dgm:spPr/>
      <dgm:t>
        <a:bodyPr/>
        <a:lstStyle/>
        <a:p>
          <a:endParaRPr lang="ru-RU"/>
        </a:p>
      </dgm:t>
    </dgm:pt>
    <dgm:pt modelId="{ABC3FE12-8D3C-4C74-9CDB-14C2FA84DDAE}" type="pres">
      <dgm:prSet presAssocID="{C4687F73-BEA4-404B-8E05-B4FCA9429E1C}" presName="parentText" presStyleLbl="node1" presStyleIdx="5" presStyleCnt="6" custScaleX="14285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B3380D-2B3D-4D78-B35A-8B2D6C77A9DC}" type="pres">
      <dgm:prSet presAssocID="{C4687F73-BEA4-404B-8E05-B4FCA9429E1C}" presName="negativeSpace" presStyleCnt="0"/>
      <dgm:spPr/>
    </dgm:pt>
    <dgm:pt modelId="{E35863D8-FDDA-4DC4-9BEB-C12C93504CD4}" type="pres">
      <dgm:prSet presAssocID="{C4687F73-BEA4-404B-8E05-B4FCA9429E1C}" presName="childText" presStyleLbl="conFgAcc1" presStyleIdx="5" presStyleCnt="6">
        <dgm:presLayoutVars>
          <dgm:bulletEnabled val="1"/>
        </dgm:presLayoutVars>
      </dgm:prSet>
      <dgm:spPr/>
    </dgm:pt>
  </dgm:ptLst>
  <dgm:cxnLst>
    <dgm:cxn modelId="{3BADAB42-3D14-41A7-B2B5-36821C0B49E8}" type="presOf" srcId="{93A65EB9-834B-47F6-BB6D-D2A358DD6BA9}" destId="{CA3C0F11-5989-4521-B025-D2847DD075C5}" srcOrd="1" destOrd="0" presId="urn:microsoft.com/office/officeart/2005/8/layout/list1"/>
    <dgm:cxn modelId="{F1A1277C-DCEF-4277-A88E-0C26BA0009B0}" type="presOf" srcId="{93A65EB9-834B-47F6-BB6D-D2A358DD6BA9}" destId="{6B247087-1A32-4BB3-A68C-55D64963A829}" srcOrd="0" destOrd="0" presId="urn:microsoft.com/office/officeart/2005/8/layout/list1"/>
    <dgm:cxn modelId="{F1CB6B38-5E45-4CA0-B0CF-B341836C131D}" type="presOf" srcId="{C4687F73-BEA4-404B-8E05-B4FCA9429E1C}" destId="{6CBADFDF-C296-4046-A61F-CC87C3EE81EA}" srcOrd="0" destOrd="0" presId="urn:microsoft.com/office/officeart/2005/8/layout/list1"/>
    <dgm:cxn modelId="{3EEC873C-D735-46F8-9FB6-EEE4B8759C56}" srcId="{0C15177A-F5DA-4054-A92C-0C1B6AE9D54D}" destId="{93A65EB9-834B-47F6-BB6D-D2A358DD6BA9}" srcOrd="2" destOrd="0" parTransId="{22DCD5A3-CEF1-4EF4-B7E2-322E4F458026}" sibTransId="{2D676C33-6542-45CA-B83D-3EAB6F8EFF6D}"/>
    <dgm:cxn modelId="{DF66FFED-1CFF-47D4-B2F8-1851417A5436}" srcId="{0C15177A-F5DA-4054-A92C-0C1B6AE9D54D}" destId="{569AB003-3C5D-49A2-AB43-2B65B9FD3BE4}" srcOrd="1" destOrd="0" parTransId="{E91DA944-08B4-4D8B-9085-6737EBCE27CF}" sibTransId="{E15D059E-ED75-4FEE-9106-7F8453F9C513}"/>
    <dgm:cxn modelId="{D4F623F8-1D2B-442C-B22A-3825441ED546}" srcId="{0C15177A-F5DA-4054-A92C-0C1B6AE9D54D}" destId="{67441B37-7853-4DDC-ACC0-04F64322AADD}" srcOrd="3" destOrd="0" parTransId="{2E3F38BC-5F1D-4CA8-86FF-A92AC3178EAF}" sibTransId="{B88A9D9F-FF9A-4724-959C-51E1E999E0F9}"/>
    <dgm:cxn modelId="{F9B186E9-ADE0-44EF-A9E8-54C90190BCF2}" type="presOf" srcId="{C4687F73-BEA4-404B-8E05-B4FCA9429E1C}" destId="{ABC3FE12-8D3C-4C74-9CDB-14C2FA84DDAE}" srcOrd="1" destOrd="0" presId="urn:microsoft.com/office/officeart/2005/8/layout/list1"/>
    <dgm:cxn modelId="{BA8926B7-39A0-4405-A87A-45974C41C0DF}" type="presOf" srcId="{5BC27968-9287-4CBD-97D0-AB9A04496DFC}" destId="{A34D6081-8C90-4961-B756-F6B0F40F0757}" srcOrd="0" destOrd="0" presId="urn:microsoft.com/office/officeart/2005/8/layout/list1"/>
    <dgm:cxn modelId="{E19AF030-FB2A-4C3B-80D1-0E2150A1BC5D}" type="presOf" srcId="{569AB003-3C5D-49A2-AB43-2B65B9FD3BE4}" destId="{60B6FCB1-162D-46EA-9780-DBA53813655D}" srcOrd="1" destOrd="0" presId="urn:microsoft.com/office/officeart/2005/8/layout/list1"/>
    <dgm:cxn modelId="{73103076-0C2B-4F33-92C8-8B87C13A9EC9}" type="presOf" srcId="{0C15177A-F5DA-4054-A92C-0C1B6AE9D54D}" destId="{30D9A49E-2717-4B12-8F94-8D60C6139134}" srcOrd="0" destOrd="0" presId="urn:microsoft.com/office/officeart/2005/8/layout/list1"/>
    <dgm:cxn modelId="{DF9AD1DE-E0DE-42F1-993A-F9F3413BBB87}" type="presOf" srcId="{67441B37-7853-4DDC-ACC0-04F64322AADD}" destId="{7E7D660D-66F0-492B-99FC-C2C6D7DCAEBC}" srcOrd="1" destOrd="0" presId="urn:microsoft.com/office/officeart/2005/8/layout/list1"/>
    <dgm:cxn modelId="{B92C702A-020C-43F8-A8FF-48EE0B2AAEBD}" type="presOf" srcId="{8A4D43AE-63A2-44A7-9ED6-B8742EC1BA91}" destId="{5B18869A-A384-4327-9D60-B4E562E0BB75}" srcOrd="0" destOrd="0" presId="urn:microsoft.com/office/officeart/2005/8/layout/list1"/>
    <dgm:cxn modelId="{63533553-C807-459A-BE6F-8901A6CA1435}" type="presOf" srcId="{8A4D43AE-63A2-44A7-9ED6-B8742EC1BA91}" destId="{A02094EB-6FCE-4070-975A-1FA876D3F2C2}" srcOrd="1" destOrd="0" presId="urn:microsoft.com/office/officeart/2005/8/layout/list1"/>
    <dgm:cxn modelId="{9243FA52-E1FA-4914-94AF-0DDC472CF6B7}" type="presOf" srcId="{5BC27968-9287-4CBD-97D0-AB9A04496DFC}" destId="{75343646-D25C-4CBB-A0C6-92E55958C239}" srcOrd="1" destOrd="0" presId="urn:microsoft.com/office/officeart/2005/8/layout/list1"/>
    <dgm:cxn modelId="{6189512A-6EEB-40DA-A00A-D0A515119B14}" srcId="{0C15177A-F5DA-4054-A92C-0C1B6AE9D54D}" destId="{C4687F73-BEA4-404B-8E05-B4FCA9429E1C}" srcOrd="5" destOrd="0" parTransId="{2AB3DBAD-2319-4417-BF94-A114A6642952}" sibTransId="{6BE905E0-55CA-44D2-8C00-C513C8814C5A}"/>
    <dgm:cxn modelId="{3011F0AC-FA5A-45DE-B025-8353ECFFB478}" type="presOf" srcId="{67441B37-7853-4DDC-ACC0-04F64322AADD}" destId="{868C405F-8EF2-4965-8D6E-4691B5F47FC0}" srcOrd="0" destOrd="0" presId="urn:microsoft.com/office/officeart/2005/8/layout/list1"/>
    <dgm:cxn modelId="{0815E415-5DC1-4428-963A-14AF7F2720FF}" type="presOf" srcId="{569AB003-3C5D-49A2-AB43-2B65B9FD3BE4}" destId="{1261EF64-8AC8-4679-9590-7AB1ED661103}" srcOrd="0" destOrd="0" presId="urn:microsoft.com/office/officeart/2005/8/layout/list1"/>
    <dgm:cxn modelId="{97935727-2762-4072-BE14-79A3271F616E}" srcId="{0C15177A-F5DA-4054-A92C-0C1B6AE9D54D}" destId="{5BC27968-9287-4CBD-97D0-AB9A04496DFC}" srcOrd="0" destOrd="0" parTransId="{8FC096D4-8D51-4446-90CD-D9AFFADD2555}" sibTransId="{70002953-73B4-4915-AE6E-59200FEEB633}"/>
    <dgm:cxn modelId="{E2D2D01F-D970-4037-8EEB-57430708CE22}" srcId="{0C15177A-F5DA-4054-A92C-0C1B6AE9D54D}" destId="{8A4D43AE-63A2-44A7-9ED6-B8742EC1BA91}" srcOrd="4" destOrd="0" parTransId="{3F34A1D6-CAF4-4F3F-BEED-3BCD7FCDA595}" sibTransId="{352831AA-F2B7-41C3-83F2-FFAF15CB9553}"/>
    <dgm:cxn modelId="{C5BD05AD-D964-43B0-9815-373E7C74F8C8}" type="presParOf" srcId="{30D9A49E-2717-4B12-8F94-8D60C6139134}" destId="{968F3C34-722E-448A-AFA6-247AAC30BDA2}" srcOrd="0" destOrd="0" presId="urn:microsoft.com/office/officeart/2005/8/layout/list1"/>
    <dgm:cxn modelId="{367B26F8-E412-407F-8E73-A1211FC6FB95}" type="presParOf" srcId="{968F3C34-722E-448A-AFA6-247AAC30BDA2}" destId="{A34D6081-8C90-4961-B756-F6B0F40F0757}" srcOrd="0" destOrd="0" presId="urn:microsoft.com/office/officeart/2005/8/layout/list1"/>
    <dgm:cxn modelId="{22D4E6C4-F406-49F1-8DA9-3B6513125AC5}" type="presParOf" srcId="{968F3C34-722E-448A-AFA6-247AAC30BDA2}" destId="{75343646-D25C-4CBB-A0C6-92E55958C239}" srcOrd="1" destOrd="0" presId="urn:microsoft.com/office/officeart/2005/8/layout/list1"/>
    <dgm:cxn modelId="{C8715917-264B-48C0-82CE-1E604A5048C4}" type="presParOf" srcId="{30D9A49E-2717-4B12-8F94-8D60C6139134}" destId="{E12216AB-BDF1-433B-ACA3-9A009B20012B}" srcOrd="1" destOrd="0" presId="urn:microsoft.com/office/officeart/2005/8/layout/list1"/>
    <dgm:cxn modelId="{CDC5BE39-B46A-49CF-8A1B-149791193C1C}" type="presParOf" srcId="{30D9A49E-2717-4B12-8F94-8D60C6139134}" destId="{6BC3E02D-AE11-4749-A816-7BCEFAFD16AD}" srcOrd="2" destOrd="0" presId="urn:microsoft.com/office/officeart/2005/8/layout/list1"/>
    <dgm:cxn modelId="{049FF3C7-7C37-4425-9E3A-1FFD1BE38CAB}" type="presParOf" srcId="{30D9A49E-2717-4B12-8F94-8D60C6139134}" destId="{0B27876D-7AFD-4041-8AF0-647DF912CDEA}" srcOrd="3" destOrd="0" presId="urn:microsoft.com/office/officeart/2005/8/layout/list1"/>
    <dgm:cxn modelId="{3984A5C2-7142-490A-AAA9-7EEA7CA7B590}" type="presParOf" srcId="{30D9A49E-2717-4B12-8F94-8D60C6139134}" destId="{722C98DA-D35F-47DF-86C3-5BA2130F0829}" srcOrd="4" destOrd="0" presId="urn:microsoft.com/office/officeart/2005/8/layout/list1"/>
    <dgm:cxn modelId="{B172E255-DC8B-4B3B-9F91-49B34A792E0F}" type="presParOf" srcId="{722C98DA-D35F-47DF-86C3-5BA2130F0829}" destId="{1261EF64-8AC8-4679-9590-7AB1ED661103}" srcOrd="0" destOrd="0" presId="urn:microsoft.com/office/officeart/2005/8/layout/list1"/>
    <dgm:cxn modelId="{2F0A8A81-1CFB-4578-9722-6EBEE3BBC53E}" type="presParOf" srcId="{722C98DA-D35F-47DF-86C3-5BA2130F0829}" destId="{60B6FCB1-162D-46EA-9780-DBA53813655D}" srcOrd="1" destOrd="0" presId="urn:microsoft.com/office/officeart/2005/8/layout/list1"/>
    <dgm:cxn modelId="{B1DA66C9-3AE7-4246-824E-9FC903A27F44}" type="presParOf" srcId="{30D9A49E-2717-4B12-8F94-8D60C6139134}" destId="{EE7CB0F1-A576-4F62-920B-D7A06560EDC3}" srcOrd="5" destOrd="0" presId="urn:microsoft.com/office/officeart/2005/8/layout/list1"/>
    <dgm:cxn modelId="{E79B5B53-0224-436F-9C81-F2B9E9583560}" type="presParOf" srcId="{30D9A49E-2717-4B12-8F94-8D60C6139134}" destId="{B2B52EC9-6359-42F0-B10D-593152C41EC7}" srcOrd="6" destOrd="0" presId="urn:microsoft.com/office/officeart/2005/8/layout/list1"/>
    <dgm:cxn modelId="{9F9F66F7-6AD1-4019-A105-C403D427D9E0}" type="presParOf" srcId="{30D9A49E-2717-4B12-8F94-8D60C6139134}" destId="{C54F56E9-5749-49A4-B2D8-45E661B0D1D0}" srcOrd="7" destOrd="0" presId="urn:microsoft.com/office/officeart/2005/8/layout/list1"/>
    <dgm:cxn modelId="{2BB48C6C-B1DF-49F3-A21F-B82A704A3AA3}" type="presParOf" srcId="{30D9A49E-2717-4B12-8F94-8D60C6139134}" destId="{98BB8999-EC1E-489C-94E4-786D60ECE5CE}" srcOrd="8" destOrd="0" presId="urn:microsoft.com/office/officeart/2005/8/layout/list1"/>
    <dgm:cxn modelId="{1E3D27E6-F318-4725-A206-4689A665C79D}" type="presParOf" srcId="{98BB8999-EC1E-489C-94E4-786D60ECE5CE}" destId="{6B247087-1A32-4BB3-A68C-55D64963A829}" srcOrd="0" destOrd="0" presId="urn:microsoft.com/office/officeart/2005/8/layout/list1"/>
    <dgm:cxn modelId="{C92B2F36-DC20-4758-9F7B-730526BF9CA8}" type="presParOf" srcId="{98BB8999-EC1E-489C-94E4-786D60ECE5CE}" destId="{CA3C0F11-5989-4521-B025-D2847DD075C5}" srcOrd="1" destOrd="0" presId="urn:microsoft.com/office/officeart/2005/8/layout/list1"/>
    <dgm:cxn modelId="{C81A10A8-8A31-4301-919F-FB1339348A34}" type="presParOf" srcId="{30D9A49E-2717-4B12-8F94-8D60C6139134}" destId="{967E1079-58C4-4560-B3B7-16587C3DB1AA}" srcOrd="9" destOrd="0" presId="urn:microsoft.com/office/officeart/2005/8/layout/list1"/>
    <dgm:cxn modelId="{CFC68DFC-3D1A-4863-AEC8-4BA099152ECA}" type="presParOf" srcId="{30D9A49E-2717-4B12-8F94-8D60C6139134}" destId="{F53F04FF-EC44-497D-8CFA-AAFF9A3C258E}" srcOrd="10" destOrd="0" presId="urn:microsoft.com/office/officeart/2005/8/layout/list1"/>
    <dgm:cxn modelId="{48D1B899-1AFE-448A-89D1-AD6C526EA773}" type="presParOf" srcId="{30D9A49E-2717-4B12-8F94-8D60C6139134}" destId="{4F1E0E9D-4859-460A-BA19-288B28DF3CCC}" srcOrd="11" destOrd="0" presId="urn:microsoft.com/office/officeart/2005/8/layout/list1"/>
    <dgm:cxn modelId="{7780AAB9-9E97-4760-9B2F-17BECD9CAEE6}" type="presParOf" srcId="{30D9A49E-2717-4B12-8F94-8D60C6139134}" destId="{397FA466-6696-4A01-8F43-E854FC4D2C1F}" srcOrd="12" destOrd="0" presId="urn:microsoft.com/office/officeart/2005/8/layout/list1"/>
    <dgm:cxn modelId="{21EE2539-3A59-4179-AC4E-CD52824449E2}" type="presParOf" srcId="{397FA466-6696-4A01-8F43-E854FC4D2C1F}" destId="{868C405F-8EF2-4965-8D6E-4691B5F47FC0}" srcOrd="0" destOrd="0" presId="urn:microsoft.com/office/officeart/2005/8/layout/list1"/>
    <dgm:cxn modelId="{FAD18C78-AE81-4930-90C5-9239023BA819}" type="presParOf" srcId="{397FA466-6696-4A01-8F43-E854FC4D2C1F}" destId="{7E7D660D-66F0-492B-99FC-C2C6D7DCAEBC}" srcOrd="1" destOrd="0" presId="urn:microsoft.com/office/officeart/2005/8/layout/list1"/>
    <dgm:cxn modelId="{35866CFF-1183-4F8B-AAA8-FC12CBFE1612}" type="presParOf" srcId="{30D9A49E-2717-4B12-8F94-8D60C6139134}" destId="{FC2127B3-01B1-4582-8B45-8A5E5EFA09C0}" srcOrd="13" destOrd="0" presId="urn:microsoft.com/office/officeart/2005/8/layout/list1"/>
    <dgm:cxn modelId="{18915663-8183-4690-B68C-DBC289D2ED36}" type="presParOf" srcId="{30D9A49E-2717-4B12-8F94-8D60C6139134}" destId="{CA9BE46D-3286-4E7C-BD35-A68F0101C418}" srcOrd="14" destOrd="0" presId="urn:microsoft.com/office/officeart/2005/8/layout/list1"/>
    <dgm:cxn modelId="{58F2D1B2-7EBD-4510-80A8-2A9F4CF3EF68}" type="presParOf" srcId="{30D9A49E-2717-4B12-8F94-8D60C6139134}" destId="{0DBBFD66-5297-4422-B4F6-89B3469755AE}" srcOrd="15" destOrd="0" presId="urn:microsoft.com/office/officeart/2005/8/layout/list1"/>
    <dgm:cxn modelId="{796617F6-0F49-4CF5-9492-9316F0B2988D}" type="presParOf" srcId="{30D9A49E-2717-4B12-8F94-8D60C6139134}" destId="{57BAC3DD-0F8D-4F72-806D-851EAE969FA5}" srcOrd="16" destOrd="0" presId="urn:microsoft.com/office/officeart/2005/8/layout/list1"/>
    <dgm:cxn modelId="{90CF6A88-013D-4F76-9B53-B6B55C345D07}" type="presParOf" srcId="{57BAC3DD-0F8D-4F72-806D-851EAE969FA5}" destId="{5B18869A-A384-4327-9D60-B4E562E0BB75}" srcOrd="0" destOrd="0" presId="urn:microsoft.com/office/officeart/2005/8/layout/list1"/>
    <dgm:cxn modelId="{7FBA0BE6-B7FB-48D1-B0F3-580A5951FFE0}" type="presParOf" srcId="{57BAC3DD-0F8D-4F72-806D-851EAE969FA5}" destId="{A02094EB-6FCE-4070-975A-1FA876D3F2C2}" srcOrd="1" destOrd="0" presId="urn:microsoft.com/office/officeart/2005/8/layout/list1"/>
    <dgm:cxn modelId="{571D9FCB-D035-418B-8EF8-2C6D964CD607}" type="presParOf" srcId="{30D9A49E-2717-4B12-8F94-8D60C6139134}" destId="{B4DA8554-E211-459C-83F0-1172B2084034}" srcOrd="17" destOrd="0" presId="urn:microsoft.com/office/officeart/2005/8/layout/list1"/>
    <dgm:cxn modelId="{F56C5963-0DDF-49A8-923A-687846C23BF2}" type="presParOf" srcId="{30D9A49E-2717-4B12-8F94-8D60C6139134}" destId="{6DB02799-A699-453E-86AF-F4501191D8CA}" srcOrd="18" destOrd="0" presId="urn:microsoft.com/office/officeart/2005/8/layout/list1"/>
    <dgm:cxn modelId="{DDB69479-4EA2-4FDB-AB07-3E02A9E5514E}" type="presParOf" srcId="{30D9A49E-2717-4B12-8F94-8D60C6139134}" destId="{BA6A7A5D-5EFC-4D78-84DC-9CBBF79B36BA}" srcOrd="19" destOrd="0" presId="urn:microsoft.com/office/officeart/2005/8/layout/list1"/>
    <dgm:cxn modelId="{9403ADED-54B0-449B-A510-F6EC22CEF677}" type="presParOf" srcId="{30D9A49E-2717-4B12-8F94-8D60C6139134}" destId="{D3960897-C9B2-4292-B5F6-FBB8C5B66AAB}" srcOrd="20" destOrd="0" presId="urn:microsoft.com/office/officeart/2005/8/layout/list1"/>
    <dgm:cxn modelId="{1FF07F96-9156-43D4-BCC8-3FC7A9B80126}" type="presParOf" srcId="{D3960897-C9B2-4292-B5F6-FBB8C5B66AAB}" destId="{6CBADFDF-C296-4046-A61F-CC87C3EE81EA}" srcOrd="0" destOrd="0" presId="urn:microsoft.com/office/officeart/2005/8/layout/list1"/>
    <dgm:cxn modelId="{02872ED0-7370-4BEB-A338-FA931518133D}" type="presParOf" srcId="{D3960897-C9B2-4292-B5F6-FBB8C5B66AAB}" destId="{ABC3FE12-8D3C-4C74-9CDB-14C2FA84DDAE}" srcOrd="1" destOrd="0" presId="urn:microsoft.com/office/officeart/2005/8/layout/list1"/>
    <dgm:cxn modelId="{AEBCA68F-4082-48B8-AFBD-430BCB8B4A06}" type="presParOf" srcId="{30D9A49E-2717-4B12-8F94-8D60C6139134}" destId="{DDB3380D-2B3D-4D78-B35A-8B2D6C77A9DC}" srcOrd="21" destOrd="0" presId="urn:microsoft.com/office/officeart/2005/8/layout/list1"/>
    <dgm:cxn modelId="{29AEE259-4798-4B00-BBE0-384249AB2929}" type="presParOf" srcId="{30D9A49E-2717-4B12-8F94-8D60C6139134}" destId="{E35863D8-FDDA-4DC4-9BEB-C12C93504CD4}" srcOrd="22" destOrd="0" presId="urn:microsoft.com/office/officeart/2005/8/layout/lis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ACDEC7-F610-4194-9F26-C89D26DDF209}">
      <dsp:nvSpPr>
        <dsp:cNvPr id="0" name=""/>
        <dsp:cNvSpPr/>
      </dsp:nvSpPr>
      <dsp:spPr>
        <a:xfrm>
          <a:off x="0" y="424960"/>
          <a:ext cx="8572500" cy="25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E87CB9B-2BEA-4D3D-9675-0C19B8CEE39F}">
      <dsp:nvSpPr>
        <dsp:cNvPr id="0" name=""/>
        <dsp:cNvSpPr/>
      </dsp:nvSpPr>
      <dsp:spPr>
        <a:xfrm>
          <a:off x="408114" y="51015"/>
          <a:ext cx="8162284" cy="521544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СЕВЕРНАЯ НАДБАВКА В ПОЛНОМ РАЗМЕРЕ С ПЕРВОГО ДНЯ РАБОТЫ 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33574" y="76475"/>
        <a:ext cx="8111364" cy="470624"/>
      </dsp:txXfrm>
    </dsp:sp>
    <dsp:sp modelId="{6BC3E02D-AE11-4749-A816-7BCEFAFD16AD}">
      <dsp:nvSpPr>
        <dsp:cNvPr id="0" name=""/>
        <dsp:cNvSpPr/>
      </dsp:nvSpPr>
      <dsp:spPr>
        <a:xfrm>
          <a:off x="0" y="878560"/>
          <a:ext cx="8572500" cy="2520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343646-D25C-4CBB-A0C6-92E55958C239}">
      <dsp:nvSpPr>
        <dsp:cNvPr id="0" name=""/>
        <dsp:cNvSpPr/>
      </dsp:nvSpPr>
      <dsp:spPr>
        <a:xfrm>
          <a:off x="408114" y="730960"/>
          <a:ext cx="8162284" cy="29520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ИПОТЕЧНАЯ ПРОГРАММА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22524" y="745370"/>
        <a:ext cx="8133464" cy="266380"/>
      </dsp:txXfrm>
    </dsp:sp>
    <dsp:sp modelId="{E45634DA-F1B6-4293-ACEF-8A5B284BAAE2}">
      <dsp:nvSpPr>
        <dsp:cNvPr id="0" name=""/>
        <dsp:cNvSpPr/>
      </dsp:nvSpPr>
      <dsp:spPr>
        <a:xfrm>
          <a:off x="0" y="1332160"/>
          <a:ext cx="8572500" cy="25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F67AECE-EA02-4157-A5D4-7DF8FC5A68E2}">
      <dsp:nvSpPr>
        <dsp:cNvPr id="0" name=""/>
        <dsp:cNvSpPr/>
      </dsp:nvSpPr>
      <dsp:spPr>
        <a:xfrm>
          <a:off x="408114" y="1184560"/>
          <a:ext cx="8162284" cy="295200"/>
        </a:xfrm>
        <a:prstGeom prst="roundRect">
          <a:avLst/>
        </a:prstGeom>
        <a:solidFill>
          <a:srgbClr val="FFC000">
            <a:alpha val="3098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СЛУЖЕБНОЕ ЖИЛЬЕ</a:t>
          </a:r>
          <a:r>
            <a:rPr lang="en-US" sz="1800" b="1" kern="1200" dirty="0" smtClean="0">
              <a:solidFill>
                <a:schemeClr val="tx1"/>
              </a:solidFill>
              <a:latin typeface="+mj-lt"/>
            </a:rPr>
            <a:t>/</a:t>
          </a: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КОМПЕНСАЦИЯ НАЙМА ЖИЛЬЯ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22524" y="1198970"/>
        <a:ext cx="8133464" cy="266380"/>
      </dsp:txXfrm>
    </dsp:sp>
    <dsp:sp modelId="{B2B52EC9-6359-42F0-B10D-593152C41EC7}">
      <dsp:nvSpPr>
        <dsp:cNvPr id="0" name=""/>
        <dsp:cNvSpPr/>
      </dsp:nvSpPr>
      <dsp:spPr>
        <a:xfrm>
          <a:off x="0" y="1785760"/>
          <a:ext cx="8572500" cy="2520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B6FCB1-162D-46EA-9780-DBA53813655D}">
      <dsp:nvSpPr>
        <dsp:cNvPr id="0" name=""/>
        <dsp:cNvSpPr/>
      </dsp:nvSpPr>
      <dsp:spPr>
        <a:xfrm>
          <a:off x="408114" y="1638160"/>
          <a:ext cx="8162284" cy="29520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САНАТОРНО-КУРОРТНОЕ ОЗДОРОВЛЕНИЕ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22524" y="1652570"/>
        <a:ext cx="8133464" cy="266380"/>
      </dsp:txXfrm>
    </dsp:sp>
    <dsp:sp modelId="{F53F04FF-EC44-497D-8CFA-AAFF9A3C258E}">
      <dsp:nvSpPr>
        <dsp:cNvPr id="0" name=""/>
        <dsp:cNvSpPr/>
      </dsp:nvSpPr>
      <dsp:spPr>
        <a:xfrm>
          <a:off x="0" y="2239360"/>
          <a:ext cx="8572500" cy="2520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3C0F11-5989-4521-B025-D2847DD075C5}">
      <dsp:nvSpPr>
        <dsp:cNvPr id="0" name=""/>
        <dsp:cNvSpPr/>
      </dsp:nvSpPr>
      <dsp:spPr>
        <a:xfrm>
          <a:off x="408114" y="2091760"/>
          <a:ext cx="8162284" cy="29520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ДМС, СТРАХОВАНИЕ ОТ НЕСЧАСТНЫХ СЛУЧАЕВ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22524" y="2106170"/>
        <a:ext cx="8133464" cy="266380"/>
      </dsp:txXfrm>
    </dsp:sp>
    <dsp:sp modelId="{CA9BE46D-3286-4E7C-BD35-A68F0101C418}">
      <dsp:nvSpPr>
        <dsp:cNvPr id="0" name=""/>
        <dsp:cNvSpPr/>
      </dsp:nvSpPr>
      <dsp:spPr>
        <a:xfrm>
          <a:off x="0" y="2692960"/>
          <a:ext cx="8572500" cy="2520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7D660D-66F0-492B-99FC-C2C6D7DCAEBC}">
      <dsp:nvSpPr>
        <dsp:cNvPr id="0" name=""/>
        <dsp:cNvSpPr/>
      </dsp:nvSpPr>
      <dsp:spPr>
        <a:xfrm>
          <a:off x="380905" y="2545360"/>
          <a:ext cx="8162284" cy="29520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ДОСТАВКА ДО МЕСТА РАБОТЫ И ОБРАТНО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395315" y="2559770"/>
        <a:ext cx="8133464" cy="266380"/>
      </dsp:txXfrm>
    </dsp:sp>
    <dsp:sp modelId="{6DB02799-A699-453E-86AF-F4501191D8CA}">
      <dsp:nvSpPr>
        <dsp:cNvPr id="0" name=""/>
        <dsp:cNvSpPr/>
      </dsp:nvSpPr>
      <dsp:spPr>
        <a:xfrm>
          <a:off x="0" y="3146560"/>
          <a:ext cx="8572500" cy="2520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2094EB-6FCE-4070-975A-1FA876D3F2C2}">
      <dsp:nvSpPr>
        <dsp:cNvPr id="0" name=""/>
        <dsp:cNvSpPr/>
      </dsp:nvSpPr>
      <dsp:spPr>
        <a:xfrm>
          <a:off x="408114" y="2998960"/>
          <a:ext cx="8162284" cy="29520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ЛЬГОТНЫЙ ПРОЕЗД В ОТПУСК И ОБРАТНО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22524" y="3013370"/>
        <a:ext cx="8133464" cy="266380"/>
      </dsp:txXfrm>
    </dsp:sp>
    <dsp:sp modelId="{973B9785-E76C-4B26-8B38-A9696EE9B10E}">
      <dsp:nvSpPr>
        <dsp:cNvPr id="0" name=""/>
        <dsp:cNvSpPr/>
      </dsp:nvSpPr>
      <dsp:spPr>
        <a:xfrm>
          <a:off x="0" y="3600160"/>
          <a:ext cx="8572500" cy="2520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B8ED1-6E30-4259-B5EC-1AB5711D8063}">
      <dsp:nvSpPr>
        <dsp:cNvPr id="0" name=""/>
        <dsp:cNvSpPr/>
      </dsp:nvSpPr>
      <dsp:spPr>
        <a:xfrm>
          <a:off x="408114" y="3452560"/>
          <a:ext cx="8162284" cy="29520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МАТПОМОЩЬ ПО КОЛЛЕКТИВНОМУ ДОГОВОРУ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22524" y="3466970"/>
        <a:ext cx="8133464" cy="266380"/>
      </dsp:txXfrm>
    </dsp:sp>
    <dsp:sp modelId="{0934393B-8116-4D8D-9EDA-3A67ED4C1E5C}">
      <dsp:nvSpPr>
        <dsp:cNvPr id="0" name=""/>
        <dsp:cNvSpPr/>
      </dsp:nvSpPr>
      <dsp:spPr>
        <a:xfrm>
          <a:off x="0" y="4308143"/>
          <a:ext cx="8572500" cy="2520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88D1F9-EDE1-4EAE-88C5-39EC2BE78AA4}">
      <dsp:nvSpPr>
        <dsp:cNvPr id="0" name=""/>
        <dsp:cNvSpPr/>
      </dsp:nvSpPr>
      <dsp:spPr>
        <a:xfrm>
          <a:off x="408114" y="3906160"/>
          <a:ext cx="8162284" cy="549582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ДОПЛАТЫ К ЗАРАБОТНОЙ ПЛАТЕ МОЛОДЫМ СПЕЦИАЛИСТАМ, РАБОТАЮЩИМ ПО РАБОЧИМ ПРОФЕССИЯМ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34942" y="3932988"/>
        <a:ext cx="8108628" cy="49592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BC3E02D-AE11-4749-A816-7BCEFAFD16AD}">
      <dsp:nvSpPr>
        <dsp:cNvPr id="0" name=""/>
        <dsp:cNvSpPr/>
      </dsp:nvSpPr>
      <dsp:spPr>
        <a:xfrm>
          <a:off x="0" y="303413"/>
          <a:ext cx="8572500" cy="4032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5343646-D25C-4CBB-A0C6-92E55958C239}">
      <dsp:nvSpPr>
        <dsp:cNvPr id="0" name=""/>
        <dsp:cNvSpPr/>
      </dsp:nvSpPr>
      <dsp:spPr>
        <a:xfrm>
          <a:off x="408114" y="67253"/>
          <a:ext cx="8162284" cy="47232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ПОВЫШЕНИЕ КВАЛИФИКАЦИИ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31171" y="90310"/>
        <a:ext cx="8116170" cy="426206"/>
      </dsp:txXfrm>
    </dsp:sp>
    <dsp:sp modelId="{B2B52EC9-6359-42F0-B10D-593152C41EC7}">
      <dsp:nvSpPr>
        <dsp:cNvPr id="0" name=""/>
        <dsp:cNvSpPr/>
      </dsp:nvSpPr>
      <dsp:spPr>
        <a:xfrm>
          <a:off x="0" y="1029173"/>
          <a:ext cx="8572500" cy="4032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0B6FCB1-162D-46EA-9780-DBA53813655D}">
      <dsp:nvSpPr>
        <dsp:cNvPr id="0" name=""/>
        <dsp:cNvSpPr/>
      </dsp:nvSpPr>
      <dsp:spPr>
        <a:xfrm>
          <a:off x="408114" y="793013"/>
          <a:ext cx="8162284" cy="47232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УЧАСТИЕ В НАУЧНО-ПРАКТИЧЕСКИХ КОНФЕРЕНЦИЯХ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31171" y="816070"/>
        <a:ext cx="8116170" cy="426206"/>
      </dsp:txXfrm>
    </dsp:sp>
    <dsp:sp modelId="{F53F04FF-EC44-497D-8CFA-AAFF9A3C258E}">
      <dsp:nvSpPr>
        <dsp:cNvPr id="0" name=""/>
        <dsp:cNvSpPr/>
      </dsp:nvSpPr>
      <dsp:spPr>
        <a:xfrm>
          <a:off x="0" y="1754933"/>
          <a:ext cx="8572500" cy="4032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A3C0F11-5989-4521-B025-D2847DD075C5}">
      <dsp:nvSpPr>
        <dsp:cNvPr id="0" name=""/>
        <dsp:cNvSpPr/>
      </dsp:nvSpPr>
      <dsp:spPr>
        <a:xfrm>
          <a:off x="408114" y="1518773"/>
          <a:ext cx="8162284" cy="47232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НАСТАВНИЧЕСТВО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31171" y="1541830"/>
        <a:ext cx="8116170" cy="426206"/>
      </dsp:txXfrm>
    </dsp:sp>
    <dsp:sp modelId="{CA9BE46D-3286-4E7C-BD35-A68F0101C418}">
      <dsp:nvSpPr>
        <dsp:cNvPr id="0" name=""/>
        <dsp:cNvSpPr/>
      </dsp:nvSpPr>
      <dsp:spPr>
        <a:xfrm>
          <a:off x="0" y="2480693"/>
          <a:ext cx="8572500" cy="4032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7D660D-66F0-492B-99FC-C2C6D7DCAEBC}">
      <dsp:nvSpPr>
        <dsp:cNvPr id="0" name=""/>
        <dsp:cNvSpPr/>
      </dsp:nvSpPr>
      <dsp:spPr>
        <a:xfrm>
          <a:off x="380905" y="2244533"/>
          <a:ext cx="8162284" cy="47232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БЕСПРОЦЕНТНЫЕ ОБРАЗОВАТЕЛЬНЫЕ ЗАЙМЫ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03962" y="2267590"/>
        <a:ext cx="8116170" cy="426206"/>
      </dsp:txXfrm>
    </dsp:sp>
    <dsp:sp modelId="{6DB02799-A699-453E-86AF-F4501191D8CA}">
      <dsp:nvSpPr>
        <dsp:cNvPr id="0" name=""/>
        <dsp:cNvSpPr/>
      </dsp:nvSpPr>
      <dsp:spPr>
        <a:xfrm>
          <a:off x="0" y="3206453"/>
          <a:ext cx="8572500" cy="403200"/>
        </a:xfrm>
        <a:prstGeom prst="rect">
          <a:avLst/>
        </a:pr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2094EB-6FCE-4070-975A-1FA876D3F2C2}">
      <dsp:nvSpPr>
        <dsp:cNvPr id="0" name=""/>
        <dsp:cNvSpPr/>
      </dsp:nvSpPr>
      <dsp:spPr>
        <a:xfrm>
          <a:off x="408114" y="2970293"/>
          <a:ext cx="8162284" cy="47232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УЧАСТИЕ В КОНКУРСЕ «ЛУЧШИЙ ПО ПРОФЕССИИ»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31171" y="2993350"/>
        <a:ext cx="8116170" cy="426206"/>
      </dsp:txXfrm>
    </dsp:sp>
    <dsp:sp modelId="{E35863D8-FDDA-4DC4-9BEB-C12C93504CD4}">
      <dsp:nvSpPr>
        <dsp:cNvPr id="0" name=""/>
        <dsp:cNvSpPr/>
      </dsp:nvSpPr>
      <dsp:spPr>
        <a:xfrm>
          <a:off x="0" y="3932213"/>
          <a:ext cx="8572500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C3FE12-8D3C-4C74-9CDB-14C2FA84DDAE}">
      <dsp:nvSpPr>
        <dsp:cNvPr id="0" name=""/>
        <dsp:cNvSpPr/>
      </dsp:nvSpPr>
      <dsp:spPr>
        <a:xfrm>
          <a:off x="408114" y="3696053"/>
          <a:ext cx="8162284" cy="472320"/>
        </a:xfrm>
        <a:prstGeom prst="roundRect">
          <a:avLst/>
        </a:prstGeom>
        <a:solidFill>
          <a:srgbClr val="FFC000">
            <a:alpha val="41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6814" tIns="0" rIns="226814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/>
              </a:solidFill>
              <a:latin typeface="+mj-lt"/>
            </a:rPr>
            <a:t>КАРЬЕРНЫЙ РОСТ, РОТАЦИЯ</a:t>
          </a:r>
          <a:endParaRPr lang="ru-RU" sz="1800" b="1" kern="1200" dirty="0">
            <a:solidFill>
              <a:schemeClr val="tx1"/>
            </a:solidFill>
            <a:latin typeface="+mj-lt"/>
          </a:endParaRPr>
        </a:p>
      </dsp:txBody>
      <dsp:txXfrm>
        <a:off x="431171" y="3719110"/>
        <a:ext cx="8116170" cy="4262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3"/>
            <a:ext cx="2949841" cy="497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26" tIns="45413" rIns="90826" bIns="45413" numCol="1" anchor="t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183" y="3"/>
            <a:ext cx="2949841" cy="4975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26" tIns="45413" rIns="90826" bIns="4541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4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440226"/>
            <a:ext cx="2949841" cy="497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26" tIns="45413" rIns="90826" bIns="45413" numCol="1" anchor="b" anchorCtr="0" compatLnSpc="1">
            <a:prstTxWarp prst="textNoShape">
              <a:avLst/>
            </a:prstTxWarp>
          </a:bodyPr>
          <a:lstStyle>
            <a:lvl1pPr>
              <a:defRPr sz="12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4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183" y="9440226"/>
            <a:ext cx="2949841" cy="497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26" tIns="45413" rIns="90826" bIns="4541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AFC685AA-5CF0-4B15-8822-D245BF6AD5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963130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39713" y="417513"/>
            <a:ext cx="6327775" cy="43815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368732" y="4956161"/>
            <a:ext cx="6068153" cy="4472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26" tIns="45413" rIns="90826" bIns="454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5128" name="Rectangle 8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183" y="9440226"/>
            <a:ext cx="2949841" cy="4975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826" tIns="45413" rIns="90826" bIns="4541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cs typeface="+mn-cs"/>
              </a:defRPr>
            </a:lvl1pPr>
          </a:lstStyle>
          <a:p>
            <a:pPr>
              <a:defRPr/>
            </a:pPr>
            <a:fld id="{152E852A-55E7-4AB4-B86D-A220CB97438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416315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indent="36036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539750" indent="3619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108108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4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ru-RU" smtClean="0"/>
              <a:t>Уважаемый Игорь Иванович (Шувалов — председатель заседания), уважаемые коллеги!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78355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78355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png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2.xml"/><Relationship Id="rId10" Type="http://schemas.openxmlformats.org/officeDocument/2006/relationships/image" Target="../media/image3.png"/><Relationship Id="rId4" Type="http://schemas.openxmlformats.org/officeDocument/2006/relationships/tags" Target="../tags/tag11.xml"/><Relationship Id="rId9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tags" Target="../tags/tag18.xml"/><Relationship Id="rId11" Type="http://schemas.openxmlformats.org/officeDocument/2006/relationships/oleObject" Target="../embeddings/oleObject6.bin"/><Relationship Id="rId5" Type="http://schemas.openxmlformats.org/officeDocument/2006/relationships/tags" Target="../tags/tag17.xml"/><Relationship Id="rId10" Type="http://schemas.openxmlformats.org/officeDocument/2006/relationships/image" Target="../media/image3.png"/><Relationship Id="rId4" Type="http://schemas.openxmlformats.org/officeDocument/2006/relationships/tags" Target="../tags/tag16.xml"/><Relationship Id="rId9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vmlDrawing" Target="../drawings/vmlDrawing5.vml"/><Relationship Id="rId6" Type="http://schemas.openxmlformats.org/officeDocument/2006/relationships/tags" Target="../tags/tag23.xml"/><Relationship Id="rId11" Type="http://schemas.openxmlformats.org/officeDocument/2006/relationships/oleObject" Target="../embeddings/oleObject8.bin"/><Relationship Id="rId5" Type="http://schemas.openxmlformats.org/officeDocument/2006/relationships/tags" Target="../tags/tag22.xml"/><Relationship Id="rId10" Type="http://schemas.openxmlformats.org/officeDocument/2006/relationships/image" Target="../media/image3.png"/><Relationship Id="rId4" Type="http://schemas.openxmlformats.org/officeDocument/2006/relationships/tags" Target="../tags/tag21.xml"/><Relationship Id="rId9" Type="http://schemas.openxmlformats.org/officeDocument/2006/relationships/image" Target="../media/image2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6.vml"/><Relationship Id="rId6" Type="http://schemas.openxmlformats.org/officeDocument/2006/relationships/tags" Target="../tags/tag28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27.xml"/><Relationship Id="rId10" Type="http://schemas.openxmlformats.org/officeDocument/2006/relationships/image" Target="../media/image3.png"/><Relationship Id="rId4" Type="http://schemas.openxmlformats.org/officeDocument/2006/relationships/tags" Target="../tags/tag26.xml"/><Relationship Id="rId9" Type="http://schemas.openxmlformats.org/officeDocument/2006/relationships/image" Target="../media/image2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/>
          </p:cNvSpPr>
          <p:nvPr/>
        </p:nvSpPr>
        <p:spPr bwMode="auto">
          <a:xfrm>
            <a:off x="476250" y="225425"/>
            <a:ext cx="8855075" cy="6299200"/>
          </a:xfrm>
          <a:custGeom>
            <a:avLst/>
            <a:gdLst/>
            <a:ahLst/>
            <a:cxnLst>
              <a:cxn ang="0">
                <a:pos x="517" y="0"/>
              </a:cxn>
              <a:cxn ang="0">
                <a:pos x="5578" y="0"/>
              </a:cxn>
              <a:cxn ang="0">
                <a:pos x="5578" y="590"/>
              </a:cxn>
              <a:cxn ang="0">
                <a:pos x="12" y="566"/>
              </a:cxn>
              <a:cxn ang="0">
                <a:pos x="12" y="1076"/>
              </a:cxn>
              <a:cxn ang="0">
                <a:pos x="5563" y="1073"/>
              </a:cxn>
              <a:cxn ang="0">
                <a:pos x="5572" y="3968"/>
              </a:cxn>
              <a:cxn ang="0">
                <a:pos x="0" y="3968"/>
              </a:cxn>
            </a:cxnLst>
            <a:rect l="0" t="0" r="r" b="b"/>
            <a:pathLst>
              <a:path w="5578" h="3968">
                <a:moveTo>
                  <a:pt x="517" y="0"/>
                </a:moveTo>
                <a:lnTo>
                  <a:pt x="5578" y="0"/>
                </a:lnTo>
                <a:lnTo>
                  <a:pt x="5578" y="590"/>
                </a:lnTo>
                <a:lnTo>
                  <a:pt x="12" y="566"/>
                </a:lnTo>
                <a:lnTo>
                  <a:pt x="12" y="1076"/>
                </a:lnTo>
                <a:lnTo>
                  <a:pt x="5563" y="1073"/>
                </a:lnTo>
                <a:lnTo>
                  <a:pt x="5572" y="3968"/>
                </a:lnTo>
                <a:lnTo>
                  <a:pt x="0" y="3968"/>
                </a:lnTo>
              </a:path>
            </a:pathLst>
          </a:custGeom>
          <a:noFill/>
          <a:ln w="22225">
            <a:solidFill>
              <a:srgbClr val="E7CF6E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dirty="0">
              <a:cs typeface="+mn-cs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596900" y="1233488"/>
            <a:ext cx="8724900" cy="611187"/>
          </a:xfrm>
          <a:prstGeom prst="rect">
            <a:avLst/>
          </a:prstGeom>
          <a:solidFill>
            <a:srgbClr val="E7CF6E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 dirty="0">
              <a:cs typeface="+mn-cs"/>
            </a:endParaRPr>
          </a:p>
        </p:txBody>
      </p:sp>
      <p:sp>
        <p:nvSpPr>
          <p:cNvPr id="5" name="Freeform 4"/>
          <p:cNvSpPr>
            <a:spLocks/>
          </p:cNvSpPr>
          <p:nvPr userDrawn="1"/>
        </p:nvSpPr>
        <p:spPr bwMode="auto">
          <a:xfrm>
            <a:off x="723906" y="2335219"/>
            <a:ext cx="8340192" cy="3990092"/>
          </a:xfrm>
          <a:custGeom>
            <a:avLst/>
            <a:gdLst>
              <a:gd name="connsiteX0" fmla="*/ 0 w 11820"/>
              <a:gd name="connsiteY0" fmla="*/ 0 h 9996"/>
              <a:gd name="connsiteX1" fmla="*/ 6784 w 11820"/>
              <a:gd name="connsiteY1" fmla="*/ 4 h 9996"/>
              <a:gd name="connsiteX2" fmla="*/ 6780 w 11820"/>
              <a:gd name="connsiteY2" fmla="*/ 8199 h 9996"/>
              <a:gd name="connsiteX3" fmla="*/ 19 w 11820"/>
              <a:gd name="connsiteY3" fmla="*/ 8199 h 9996"/>
              <a:gd name="connsiteX4" fmla="*/ 19 w 11820"/>
              <a:gd name="connsiteY4" fmla="*/ 9996 h 9996"/>
              <a:gd name="connsiteX5" fmla="*/ 11820 w 11820"/>
              <a:gd name="connsiteY5" fmla="*/ 9977 h 9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820" h="9996">
                <a:moveTo>
                  <a:pt x="0" y="0"/>
                </a:moveTo>
                <a:lnTo>
                  <a:pt x="6784" y="4"/>
                </a:lnTo>
                <a:cubicBezTo>
                  <a:pt x="6783" y="2736"/>
                  <a:pt x="6781" y="5467"/>
                  <a:pt x="6780" y="8199"/>
                </a:cubicBezTo>
                <a:lnTo>
                  <a:pt x="19" y="8199"/>
                </a:lnTo>
                <a:lnTo>
                  <a:pt x="19" y="9996"/>
                </a:lnTo>
                <a:lnTo>
                  <a:pt x="11820" y="9977"/>
                </a:lnTo>
              </a:path>
            </a:pathLst>
          </a:custGeom>
          <a:noFill/>
          <a:ln w="22225">
            <a:solidFill>
              <a:srgbClr val="E7CF6E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dirty="0">
              <a:cs typeface="+mn-cs"/>
            </a:endParaRPr>
          </a:p>
        </p:txBody>
      </p:sp>
      <p:pic>
        <p:nvPicPr>
          <p:cNvPr id="6" name="Picture 12" descr="RN_block_center_full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17525" y="258763"/>
            <a:ext cx="1120775" cy="81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486" name="Rectangle 6"/>
          <p:cNvSpPr>
            <a:spLocks noGrp="1" noChangeArrowheads="1"/>
          </p:cNvSpPr>
          <p:nvPr>
            <p:ph type="ctrTitle"/>
          </p:nvPr>
        </p:nvSpPr>
        <p:spPr>
          <a:xfrm>
            <a:off x="887413" y="1228725"/>
            <a:ext cx="8131175" cy="593725"/>
          </a:xfrm>
        </p:spPr>
        <p:txBody>
          <a:bodyPr lIns="91410" tIns="45704" rIns="91410" bIns="45704"/>
          <a:lstStyle>
            <a:lvl1pPr algn="ctr">
              <a:defRPr sz="18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1806575" y="5735638"/>
            <a:ext cx="6294438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10" tIns="45704" rIns="91410" bIns="45704" numCol="1" anchor="ctr" anchorCtr="0" compatLnSpc="1">
            <a:prstTxWarp prst="textNoShape">
              <a:avLst/>
            </a:prstTxWarp>
          </a:bodyPr>
          <a:lstStyle>
            <a:lvl1pPr algn="ctr">
              <a:defRPr sz="1600"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7594600" y="6511925"/>
            <a:ext cx="2311400" cy="346075"/>
          </a:xfrm>
        </p:spPr>
        <p:txBody>
          <a:bodyPr/>
          <a:lstStyle>
            <a:lvl1pPr>
              <a:defRPr sz="1600"/>
            </a:lvl1pPr>
          </a:lstStyle>
          <a:p>
            <a:pPr>
              <a:defRPr/>
            </a:pPr>
            <a:fld id="{3760835C-41A5-4208-B018-3A9333278D0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58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714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714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953000" y="188913"/>
            <a:ext cx="4819650" cy="1439862"/>
          </a:xfrm>
        </p:spPr>
        <p:txBody>
          <a:bodyPr anchor="t"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24037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0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Box 1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50363" y="6675438"/>
            <a:ext cx="190500" cy="1317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1E9904B-D9B3-4691-BF0C-5DCF03B93883}" type="slidenum">
              <a:rPr lang="en-GB" sz="900" smtClean="0">
                <a:solidFill>
                  <a:srgbClr val="000000"/>
                </a:solidFill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smtClean="0">
              <a:solidFill>
                <a:srgbClr val="000000"/>
              </a:solidFill>
            </a:endParaRPr>
          </a:p>
        </p:txBody>
      </p:sp>
      <p:sp>
        <p:nvSpPr>
          <p:cNvPr id="7" name="Rectangle 1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989013"/>
            <a:ext cx="9906000" cy="109537"/>
          </a:xfrm>
          <a:prstGeom prst="rect">
            <a:avLst/>
          </a:prstGeom>
          <a:solidFill>
            <a:srgbClr val="F0D500"/>
          </a:solidFill>
          <a:ln>
            <a:noFill/>
          </a:ln>
          <a:extLst/>
        </p:spPr>
        <p:txBody>
          <a:bodyPr wrap="none" tIns="91440" bIns="91440" anchor="ctr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mtClean="0">
              <a:solidFill>
                <a:srgbClr val="000000"/>
              </a:solidFill>
            </a:endParaRPr>
          </a:p>
        </p:txBody>
      </p:sp>
      <p:pic>
        <p:nvPicPr>
          <p:cNvPr id="8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902" y="225425"/>
            <a:ext cx="550863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" name="Object 115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1226" y="1509714"/>
            <a:ext cx="8963555" cy="4613275"/>
          </a:xfrm>
        </p:spPr>
        <p:txBody>
          <a:bodyPr/>
          <a:lstStyle>
            <a:lvl1pPr>
              <a:buClr>
                <a:srgbClr val="947C30"/>
              </a:buClr>
              <a:defRPr/>
            </a:lvl1pPr>
            <a:lvl2pPr>
              <a:buClr>
                <a:srgbClr val="947C30"/>
              </a:buClr>
              <a:defRPr/>
            </a:lvl2pPr>
            <a:lvl3pPr>
              <a:buClr>
                <a:srgbClr val="947C30"/>
              </a:buClr>
              <a:defRPr/>
            </a:lvl3pPr>
            <a:lvl4pPr>
              <a:buClr>
                <a:srgbClr val="947C30"/>
              </a:buClr>
              <a:defRPr/>
            </a:lvl4pPr>
            <a:lvl5pPr>
              <a:buClr>
                <a:srgbClr val="947C30"/>
              </a:buCl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78381566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1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4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Box 1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50363" y="6675438"/>
            <a:ext cx="190500" cy="1317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79E41BAB-EA4A-4395-AFBA-358C8D89874A}" type="slidenum">
              <a:rPr lang="en-GB" sz="900" smtClean="0">
                <a:solidFill>
                  <a:srgbClr val="000000"/>
                </a:solidFill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smtClean="0">
              <a:solidFill>
                <a:srgbClr val="000000"/>
              </a:solidFill>
            </a:endParaRPr>
          </a:p>
        </p:txBody>
      </p:sp>
      <p:sp>
        <p:nvSpPr>
          <p:cNvPr id="6" name="Rectangle 1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989013"/>
            <a:ext cx="9906000" cy="109537"/>
          </a:xfrm>
          <a:prstGeom prst="rect">
            <a:avLst/>
          </a:prstGeom>
          <a:solidFill>
            <a:srgbClr val="F0D500"/>
          </a:solidFill>
          <a:ln>
            <a:noFill/>
          </a:ln>
          <a:extLst/>
        </p:spPr>
        <p:txBody>
          <a:bodyPr wrap="none" tIns="91440" bIns="91440" anchor="ctr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mtClean="0">
              <a:solidFill>
                <a:srgbClr val="000000"/>
              </a:solidFill>
            </a:endParaRPr>
          </a:p>
        </p:txBody>
      </p:sp>
      <p:pic>
        <p:nvPicPr>
          <p:cNvPr id="7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902" y="225425"/>
            <a:ext cx="550863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Object 11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  <a:prstGeom prst="rect">
            <a:avLst/>
          </a:prstGeom>
        </p:spPr>
        <p:txBody>
          <a:bodyPr lIns="0" tIns="0" rIns="0" bIns="0"/>
          <a:lstStyle>
            <a:lvl1pPr marL="0" indent="-173038">
              <a:buClr>
                <a:srgbClr val="F0D500"/>
              </a:buClr>
              <a:buSzPct val="150000"/>
              <a:buFont typeface="Wingdings 3" pitchFamily="18" charset="2"/>
              <a:buChar char=""/>
              <a:tabLst/>
              <a:defRPr b="0"/>
            </a:lvl1pPr>
            <a:lvl2pPr marL="628650" indent="-228600" algn="l" defTabSz="889000" rtl="0" fontAlgn="base">
              <a:spcBef>
                <a:spcPct val="20000"/>
              </a:spcBef>
              <a:spcAft>
                <a:spcPct val="0"/>
              </a:spcAft>
              <a:buClr>
                <a:srgbClr val="947C30"/>
              </a:buClr>
              <a:buFont typeface="Arial" pitchFamily="34" charset="0"/>
              <a:buChar char="•"/>
              <a:defRPr lang="en-US" sz="1200" dirty="0" smtClean="0">
                <a:solidFill>
                  <a:schemeClr val="tx1"/>
                </a:solidFill>
                <a:latin typeface="+mn-lt"/>
                <a:cs typeface="+mn-cs"/>
              </a:defRPr>
            </a:lvl2pPr>
            <a:lvl3pPr marL="1074738" indent="-228600" algn="l" defTabSz="889000" rtl="0" fontAlgn="base">
              <a:spcBef>
                <a:spcPct val="20000"/>
              </a:spcBef>
              <a:spcAft>
                <a:spcPct val="0"/>
              </a:spcAft>
              <a:buClr>
                <a:srgbClr val="947C30"/>
              </a:buClr>
              <a:defRPr lang="en-US" sz="1200" dirty="0" smtClean="0">
                <a:solidFill>
                  <a:schemeClr val="tx1"/>
                </a:solidFill>
                <a:latin typeface="+mn-lt"/>
                <a:cs typeface="+mn-cs"/>
              </a:defRPr>
            </a:lvl3pPr>
            <a:lvl4pPr marL="1545336" indent="-228600" algn="l" defTabSz="889000" rtl="0" fontAlgn="base">
              <a:spcBef>
                <a:spcPct val="20000"/>
              </a:spcBef>
              <a:spcAft>
                <a:spcPct val="0"/>
              </a:spcAft>
              <a:buClr>
                <a:srgbClr val="947C30"/>
              </a:buClr>
              <a:defRPr lang="en-US" sz="1200" dirty="0" smtClean="0">
                <a:solidFill>
                  <a:schemeClr val="tx1"/>
                </a:solidFill>
                <a:latin typeface="+mn-lt"/>
                <a:cs typeface="+mn-cs"/>
              </a:defRPr>
            </a:lvl4pPr>
            <a:lvl5pPr algn="l" defTabSz="889000" rtl="0" fontAlgn="base">
              <a:spcBef>
                <a:spcPct val="20000"/>
              </a:spcBef>
              <a:spcAft>
                <a:spcPct val="0"/>
              </a:spcAft>
              <a:buClr>
                <a:srgbClr val="947C30"/>
              </a:buClr>
              <a:defRPr lang="ru-RU" sz="1200" dirty="0">
                <a:solidFill>
                  <a:schemeClr val="tx1"/>
                </a:solidFill>
                <a:latin typeface="+mn-lt"/>
                <a:cs typeface="+mn-cs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9124691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1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1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50363" y="6675438"/>
            <a:ext cx="190500" cy="1317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B9F639ED-2F0C-433A-AE36-7FF822A41217}" type="slidenum">
              <a:rPr lang="en-GB" sz="900" smtClean="0">
                <a:solidFill>
                  <a:srgbClr val="000000"/>
                </a:solidFill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smtClean="0">
              <a:solidFill>
                <a:srgbClr val="000000"/>
              </a:solidFill>
            </a:endParaRPr>
          </a:p>
        </p:txBody>
      </p:sp>
      <p:sp>
        <p:nvSpPr>
          <p:cNvPr id="5" name="Rectangle 1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989013"/>
            <a:ext cx="9906000" cy="109537"/>
          </a:xfrm>
          <a:prstGeom prst="rect">
            <a:avLst/>
          </a:prstGeom>
          <a:solidFill>
            <a:srgbClr val="F0D500"/>
          </a:solidFill>
          <a:ln>
            <a:noFill/>
          </a:ln>
          <a:extLst/>
        </p:spPr>
        <p:txBody>
          <a:bodyPr wrap="none" tIns="91440" bIns="91440" anchor="ctr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mtClean="0">
              <a:solidFill>
                <a:srgbClr val="000000"/>
              </a:solidFill>
            </a:endParaRPr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902" y="225425"/>
            <a:ext cx="550863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11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4749663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1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Box 12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250363" y="6675438"/>
            <a:ext cx="190500" cy="1317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8511AB6C-A7FE-438C-B420-51E00270F973}" type="slidenum">
              <a:rPr lang="en-GB" sz="900" smtClean="0">
                <a:solidFill>
                  <a:srgbClr val="000000"/>
                </a:solidFill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smtClean="0">
              <a:solidFill>
                <a:srgbClr val="000000"/>
              </a:solidFill>
            </a:endParaRPr>
          </a:p>
        </p:txBody>
      </p:sp>
      <p:sp>
        <p:nvSpPr>
          <p:cNvPr id="4" name="Rectangle 12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989013"/>
            <a:ext cx="9906000" cy="109537"/>
          </a:xfrm>
          <a:prstGeom prst="rect">
            <a:avLst/>
          </a:prstGeom>
          <a:solidFill>
            <a:srgbClr val="F0D500"/>
          </a:solidFill>
          <a:ln>
            <a:noFill/>
          </a:ln>
          <a:extLst/>
        </p:spPr>
        <p:txBody>
          <a:bodyPr wrap="none" tIns="91440" bIns="91440" anchor="ctr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mtClean="0">
              <a:solidFill>
                <a:srgbClr val="000000"/>
              </a:solidFill>
            </a:endParaRPr>
          </a:p>
        </p:txBody>
      </p:sp>
      <p:pic>
        <p:nvPicPr>
          <p:cNvPr id="5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902" y="225425"/>
            <a:ext cx="550863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Object 115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8141612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lang="ru-RU" sz="1800" kern="1200" dirty="0" smtClean="0">
                <a:solidFill>
                  <a:srgbClr val="3D464A"/>
                </a:solidFill>
                <a:latin typeface="Europe" pitchFamily="50" charset="-52"/>
                <a:ea typeface="+mj-ea"/>
                <a:cs typeface="+mj-cs"/>
              </a:defRPr>
            </a:lvl1pPr>
          </a:lstStyle>
          <a:p>
            <a:r>
              <a:rPr lang="en-US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8DFBB61-5DDD-419C-AA71-B925A9851F6B}" type="datetime1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6.04.2023</a:t>
            </a:fld>
            <a:endParaRPr lang="ru-RU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7099300" y="6356354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19B0651-EE4F-4900-A07F-96A6BFA9D0F0}" type="slidenum">
              <a:rPr lang="ru-RU" smtClean="0">
                <a:solidFill>
                  <a:srgbClr val="000000"/>
                </a:solidFill>
                <a:latin typeface="Arial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srgbClr val="000000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578901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5.xml"/><Relationship Id="rId7" Type="http://schemas.openxmlformats.org/officeDocument/2006/relationships/theme" Target="../theme/theme2.xml"/><Relationship Id="rId12" Type="http://schemas.openxmlformats.org/officeDocument/2006/relationships/tags" Target="../tags/tag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7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6.xml"/><Relationship Id="rId9" Type="http://schemas.openxmlformats.org/officeDocument/2006/relationships/tags" Target="../tags/tag2.xml"/><Relationship Id="rId14" Type="http://schemas.openxmlformats.org/officeDocument/2006/relationships/tags" Target="../tags/tag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5300" y="1601788"/>
            <a:ext cx="8896350" cy="413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0" tIns="45704" rIns="91410" bIns="457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</p:txBody>
      </p:sp>
      <p:grpSp>
        <p:nvGrpSpPr>
          <p:cNvPr id="3075" name="Group 6"/>
          <p:cNvGrpSpPr>
            <a:grpSpLocks noChangeAspect="1"/>
          </p:cNvGrpSpPr>
          <p:nvPr/>
        </p:nvGrpSpPr>
        <p:grpSpPr bwMode="auto">
          <a:xfrm>
            <a:off x="176213" y="155575"/>
            <a:ext cx="477837" cy="647700"/>
            <a:chOff x="792" y="2341"/>
            <a:chExt cx="771" cy="1129"/>
          </a:xfrm>
        </p:grpSpPr>
        <p:grpSp>
          <p:nvGrpSpPr>
            <p:cNvPr id="3082" name="Group 7"/>
            <p:cNvGrpSpPr>
              <a:grpSpLocks noChangeAspect="1"/>
            </p:cNvGrpSpPr>
            <p:nvPr userDrawn="1"/>
          </p:nvGrpSpPr>
          <p:grpSpPr bwMode="auto">
            <a:xfrm>
              <a:off x="1017" y="2849"/>
              <a:ext cx="320" cy="621"/>
              <a:chOff x="1017" y="2849"/>
              <a:chExt cx="320" cy="621"/>
            </a:xfrm>
          </p:grpSpPr>
          <p:sp>
            <p:nvSpPr>
              <p:cNvPr id="19464" name="Rectangle 8"/>
              <p:cNvSpPr>
                <a:spLocks noChangeAspect="1" noChangeArrowheads="1"/>
              </p:cNvSpPr>
              <p:nvPr userDrawn="1"/>
            </p:nvSpPr>
            <p:spPr bwMode="auto">
              <a:xfrm>
                <a:off x="1017" y="2964"/>
                <a:ext cx="95" cy="506"/>
              </a:xfrm>
              <a:prstGeom prst="rect">
                <a:avLst/>
              </a:prstGeom>
              <a:solidFill>
                <a:srgbClr val="E7CF6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9465" name="Rectangle 9"/>
              <p:cNvSpPr>
                <a:spLocks noChangeAspect="1" noChangeArrowheads="1"/>
              </p:cNvSpPr>
              <p:nvPr userDrawn="1"/>
            </p:nvSpPr>
            <p:spPr bwMode="auto">
              <a:xfrm>
                <a:off x="1130" y="2850"/>
                <a:ext cx="95" cy="620"/>
              </a:xfrm>
              <a:prstGeom prst="rect">
                <a:avLst/>
              </a:prstGeom>
              <a:solidFill>
                <a:srgbClr val="E7CF6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9466" name="Rectangle 10"/>
              <p:cNvSpPr>
                <a:spLocks noChangeAspect="1" noChangeArrowheads="1"/>
              </p:cNvSpPr>
              <p:nvPr userDrawn="1"/>
            </p:nvSpPr>
            <p:spPr bwMode="auto">
              <a:xfrm>
                <a:off x="1243" y="2964"/>
                <a:ext cx="95" cy="506"/>
              </a:xfrm>
              <a:prstGeom prst="rect">
                <a:avLst/>
              </a:prstGeom>
              <a:solidFill>
                <a:srgbClr val="E7CF6E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dirty="0">
                  <a:cs typeface="+mn-cs"/>
                </a:endParaRPr>
              </a:p>
            </p:txBody>
          </p:sp>
        </p:grpSp>
        <p:grpSp>
          <p:nvGrpSpPr>
            <p:cNvPr id="3083" name="Group 11"/>
            <p:cNvGrpSpPr>
              <a:grpSpLocks noChangeAspect="1"/>
            </p:cNvGrpSpPr>
            <p:nvPr userDrawn="1"/>
          </p:nvGrpSpPr>
          <p:grpSpPr bwMode="auto">
            <a:xfrm>
              <a:off x="792" y="2341"/>
              <a:ext cx="771" cy="771"/>
              <a:chOff x="792" y="2341"/>
              <a:chExt cx="771" cy="771"/>
            </a:xfrm>
          </p:grpSpPr>
          <p:sp>
            <p:nvSpPr>
              <p:cNvPr id="19468" name="Freeform 12"/>
              <p:cNvSpPr>
                <a:spLocks noChangeAspect="1"/>
              </p:cNvSpPr>
              <p:nvPr userDrawn="1"/>
            </p:nvSpPr>
            <p:spPr bwMode="auto">
              <a:xfrm>
                <a:off x="792" y="2679"/>
                <a:ext cx="95" cy="321"/>
              </a:xfrm>
              <a:custGeom>
                <a:avLst/>
                <a:gdLst/>
                <a:ahLst/>
                <a:cxnLst>
                  <a:cxn ang="0">
                    <a:pos x="269" y="922"/>
                  </a:cxn>
                  <a:cxn ang="0">
                    <a:pos x="0" y="650"/>
                  </a:cxn>
                  <a:cxn ang="0">
                    <a:pos x="0" y="0"/>
                  </a:cxn>
                  <a:cxn ang="0">
                    <a:pos x="269" y="0"/>
                  </a:cxn>
                  <a:cxn ang="0">
                    <a:pos x="269" y="922"/>
                  </a:cxn>
                </a:cxnLst>
                <a:rect l="0" t="0" r="r" b="b"/>
                <a:pathLst>
                  <a:path w="269" h="922">
                    <a:moveTo>
                      <a:pt x="269" y="922"/>
                    </a:moveTo>
                    <a:lnTo>
                      <a:pt x="0" y="650"/>
                    </a:lnTo>
                    <a:lnTo>
                      <a:pt x="0" y="0"/>
                    </a:lnTo>
                    <a:lnTo>
                      <a:pt x="269" y="0"/>
                    </a:lnTo>
                    <a:lnTo>
                      <a:pt x="269" y="922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9469" name="Freeform 13"/>
              <p:cNvSpPr>
                <a:spLocks noChangeAspect="1"/>
              </p:cNvSpPr>
              <p:nvPr userDrawn="1"/>
            </p:nvSpPr>
            <p:spPr bwMode="auto">
              <a:xfrm>
                <a:off x="905" y="2568"/>
                <a:ext cx="95" cy="545"/>
              </a:xfrm>
              <a:custGeom>
                <a:avLst/>
                <a:gdLst/>
                <a:ahLst/>
                <a:cxnLst>
                  <a:cxn ang="0">
                    <a:pos x="272" y="1568"/>
                  </a:cxn>
                  <a:cxn ang="0">
                    <a:pos x="0" y="1299"/>
                  </a:cxn>
                  <a:cxn ang="0">
                    <a:pos x="0" y="0"/>
                  </a:cxn>
                  <a:cxn ang="0">
                    <a:pos x="272" y="0"/>
                  </a:cxn>
                  <a:cxn ang="0">
                    <a:pos x="272" y="1568"/>
                  </a:cxn>
                </a:cxnLst>
                <a:rect l="0" t="0" r="r" b="b"/>
                <a:pathLst>
                  <a:path w="272" h="1568">
                    <a:moveTo>
                      <a:pt x="272" y="1568"/>
                    </a:moveTo>
                    <a:lnTo>
                      <a:pt x="0" y="1299"/>
                    </a:lnTo>
                    <a:lnTo>
                      <a:pt x="0" y="0"/>
                    </a:lnTo>
                    <a:lnTo>
                      <a:pt x="272" y="0"/>
                    </a:lnTo>
                    <a:lnTo>
                      <a:pt x="272" y="1568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9470" name="Rectangle 14"/>
              <p:cNvSpPr>
                <a:spLocks noChangeAspect="1" noChangeArrowheads="1"/>
              </p:cNvSpPr>
              <p:nvPr userDrawn="1"/>
            </p:nvSpPr>
            <p:spPr bwMode="auto">
              <a:xfrm>
                <a:off x="1017" y="2454"/>
                <a:ext cx="95" cy="490"/>
              </a:xfrm>
              <a:prstGeom prst="rect">
                <a:avLst/>
              </a:pr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9471" name="Rectangle 15"/>
              <p:cNvSpPr>
                <a:spLocks noChangeAspect="1" noChangeArrowheads="1"/>
              </p:cNvSpPr>
              <p:nvPr userDrawn="1"/>
            </p:nvSpPr>
            <p:spPr bwMode="auto">
              <a:xfrm>
                <a:off x="1130" y="2341"/>
                <a:ext cx="95" cy="490"/>
              </a:xfrm>
              <a:prstGeom prst="rect">
                <a:avLst/>
              </a:pr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9472" name="Rectangle 16"/>
              <p:cNvSpPr>
                <a:spLocks noChangeAspect="1" noChangeArrowheads="1"/>
              </p:cNvSpPr>
              <p:nvPr userDrawn="1"/>
            </p:nvSpPr>
            <p:spPr bwMode="auto">
              <a:xfrm>
                <a:off x="1243" y="2454"/>
                <a:ext cx="95" cy="490"/>
              </a:xfrm>
              <a:prstGeom prst="rect">
                <a:avLst/>
              </a:pr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9473" name="Freeform 17"/>
              <p:cNvSpPr>
                <a:spLocks noChangeAspect="1"/>
              </p:cNvSpPr>
              <p:nvPr userDrawn="1"/>
            </p:nvSpPr>
            <p:spPr bwMode="auto">
              <a:xfrm>
                <a:off x="1356" y="2568"/>
                <a:ext cx="95" cy="545"/>
              </a:xfrm>
              <a:custGeom>
                <a:avLst/>
                <a:gdLst/>
                <a:ahLst/>
                <a:cxnLst>
                  <a:cxn ang="0">
                    <a:pos x="270" y="1299"/>
                  </a:cxn>
                  <a:cxn ang="0">
                    <a:pos x="0" y="1568"/>
                  </a:cxn>
                  <a:cxn ang="0">
                    <a:pos x="0" y="0"/>
                  </a:cxn>
                  <a:cxn ang="0">
                    <a:pos x="270" y="0"/>
                  </a:cxn>
                  <a:cxn ang="0">
                    <a:pos x="270" y="1299"/>
                  </a:cxn>
                </a:cxnLst>
                <a:rect l="0" t="0" r="r" b="b"/>
                <a:pathLst>
                  <a:path w="270" h="1568">
                    <a:moveTo>
                      <a:pt x="270" y="1299"/>
                    </a:moveTo>
                    <a:lnTo>
                      <a:pt x="0" y="1568"/>
                    </a:lnTo>
                    <a:lnTo>
                      <a:pt x="0" y="0"/>
                    </a:lnTo>
                    <a:lnTo>
                      <a:pt x="270" y="0"/>
                    </a:lnTo>
                    <a:lnTo>
                      <a:pt x="270" y="1299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dirty="0">
                  <a:cs typeface="+mn-cs"/>
                </a:endParaRPr>
              </a:p>
            </p:txBody>
          </p:sp>
          <p:sp>
            <p:nvSpPr>
              <p:cNvPr id="19474" name="Freeform 18"/>
              <p:cNvSpPr>
                <a:spLocks noChangeAspect="1"/>
              </p:cNvSpPr>
              <p:nvPr userDrawn="1"/>
            </p:nvSpPr>
            <p:spPr bwMode="auto">
              <a:xfrm>
                <a:off x="1468" y="2679"/>
                <a:ext cx="95" cy="321"/>
              </a:xfrm>
              <a:custGeom>
                <a:avLst/>
                <a:gdLst/>
                <a:ahLst/>
                <a:cxnLst>
                  <a:cxn ang="0">
                    <a:pos x="272" y="650"/>
                  </a:cxn>
                  <a:cxn ang="0">
                    <a:pos x="0" y="922"/>
                  </a:cxn>
                  <a:cxn ang="0">
                    <a:pos x="0" y="0"/>
                  </a:cxn>
                  <a:cxn ang="0">
                    <a:pos x="272" y="0"/>
                  </a:cxn>
                  <a:cxn ang="0">
                    <a:pos x="272" y="650"/>
                  </a:cxn>
                </a:cxnLst>
                <a:rect l="0" t="0" r="r" b="b"/>
                <a:pathLst>
                  <a:path w="272" h="922">
                    <a:moveTo>
                      <a:pt x="272" y="650"/>
                    </a:moveTo>
                    <a:lnTo>
                      <a:pt x="0" y="922"/>
                    </a:lnTo>
                    <a:lnTo>
                      <a:pt x="0" y="0"/>
                    </a:lnTo>
                    <a:lnTo>
                      <a:pt x="272" y="0"/>
                    </a:lnTo>
                    <a:lnTo>
                      <a:pt x="272" y="650"/>
                    </a:lnTo>
                    <a:close/>
                  </a:path>
                </a:pathLst>
              </a:custGeom>
              <a:solidFill>
                <a:schemeClr val="tx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>
                  <a:defRPr/>
                </a:pPr>
                <a:endParaRPr lang="ru-RU" dirty="0">
                  <a:cs typeface="+mn-cs"/>
                </a:endParaRPr>
              </a:p>
            </p:txBody>
          </p:sp>
        </p:grpSp>
      </p:grpSp>
      <p:sp>
        <p:nvSpPr>
          <p:cNvPr id="19475" name="Rectangle 19"/>
          <p:cNvSpPr>
            <a:spLocks noChangeArrowheads="1"/>
          </p:cNvSpPr>
          <p:nvPr/>
        </p:nvSpPr>
        <p:spPr bwMode="auto">
          <a:xfrm>
            <a:off x="849313" y="22225"/>
            <a:ext cx="9056687" cy="876300"/>
          </a:xfrm>
          <a:prstGeom prst="rect">
            <a:avLst/>
          </a:prstGeom>
          <a:solidFill>
            <a:srgbClr val="E7CF6E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10" tIns="45704" rIns="91410" bIns="45704" anchor="ctr"/>
          <a:lstStyle/>
          <a:p>
            <a:pPr algn="ctr">
              <a:defRPr/>
            </a:pPr>
            <a:endParaRPr lang="ru-RU" sz="2400" dirty="0">
              <a:effectLst>
                <a:outerShdw blurRad="38100" dist="38100" dir="2700000" algn="tl">
                  <a:srgbClr val="FFFFFF"/>
                </a:outerShdw>
              </a:effectLst>
              <a:latin typeface="Century Gothic" pitchFamily="34" charset="0"/>
              <a:cs typeface="+mn-cs"/>
            </a:endParaRPr>
          </a:p>
        </p:txBody>
      </p:sp>
      <p:sp>
        <p:nvSpPr>
          <p:cNvPr id="19476" name="Freeform 20"/>
          <p:cNvSpPr>
            <a:spLocks/>
          </p:cNvSpPr>
          <p:nvPr/>
        </p:nvSpPr>
        <p:spPr bwMode="auto">
          <a:xfrm>
            <a:off x="-7938" y="7938"/>
            <a:ext cx="9909176" cy="890587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6242" y="0"/>
              </a:cxn>
              <a:cxn ang="0">
                <a:pos x="6242" y="560"/>
              </a:cxn>
              <a:cxn ang="0">
                <a:pos x="13" y="561"/>
              </a:cxn>
            </a:cxnLst>
            <a:rect l="0" t="0" r="r" b="b"/>
            <a:pathLst>
              <a:path w="6242" h="561">
                <a:moveTo>
                  <a:pt x="0" y="0"/>
                </a:moveTo>
                <a:lnTo>
                  <a:pt x="6242" y="0"/>
                </a:lnTo>
                <a:lnTo>
                  <a:pt x="6242" y="560"/>
                </a:lnTo>
                <a:lnTo>
                  <a:pt x="13" y="561"/>
                </a:lnTo>
              </a:path>
            </a:pathLst>
          </a:cu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dirty="0">
              <a:cs typeface="+mn-cs"/>
            </a:endParaRPr>
          </a:p>
        </p:txBody>
      </p:sp>
      <p:sp>
        <p:nvSpPr>
          <p:cNvPr id="19477" name="8296133.25226.7505229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15925" y="6527800"/>
            <a:ext cx="8975725" cy="0"/>
          </a:xfrm>
          <a:prstGeom prst="line">
            <a:avLst/>
          </a:prstGeom>
          <a:noFill/>
          <a:ln w="25400">
            <a:solidFill>
              <a:srgbClr val="E7CF6E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 dirty="0">
              <a:cs typeface="+mn-cs"/>
            </a:endParaRPr>
          </a:p>
        </p:txBody>
      </p:sp>
      <p:sp>
        <p:nvSpPr>
          <p:cNvPr id="19478" name="Text Box 22"/>
          <p:cNvSpPr txBox="1">
            <a:spLocks noChangeArrowheads="1"/>
          </p:cNvSpPr>
          <p:nvPr/>
        </p:nvSpPr>
        <p:spPr bwMode="auto">
          <a:xfrm>
            <a:off x="962025" y="180975"/>
            <a:ext cx="8486775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91410" tIns="45704" rIns="91410" bIns="45704">
            <a:spAutoFit/>
          </a:bodyPr>
          <a:lstStyle/>
          <a:p>
            <a:pPr algn="r">
              <a:spcBef>
                <a:spcPct val="50000"/>
              </a:spcBef>
              <a:defRPr/>
            </a:pPr>
            <a:endParaRPr lang="en-US" sz="2400" b="1" dirty="0">
              <a:effectLst>
                <a:outerShdw blurRad="38100" dist="38100" dir="2700000" algn="tl">
                  <a:srgbClr val="C0C0C0"/>
                </a:outerShdw>
              </a:effectLst>
              <a:latin typeface="Century Gothic" pitchFamily="34" charset="0"/>
              <a:cs typeface="+mn-cs"/>
            </a:endParaRPr>
          </a:p>
        </p:txBody>
      </p:sp>
      <p:sp>
        <p:nvSpPr>
          <p:cNvPr id="3080" name="Rectangle 23"/>
          <p:cNvSpPr>
            <a:spLocks noGrp="1" noChangeArrowheads="1"/>
          </p:cNvSpPr>
          <p:nvPr>
            <p:ph type="title"/>
          </p:nvPr>
        </p:nvSpPr>
        <p:spPr bwMode="auto">
          <a:xfrm>
            <a:off x="923925" y="93663"/>
            <a:ext cx="8697913" cy="695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0" tIns="45710" rIns="91420" bIns="4571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22" name="Номер слайда 2"/>
          <p:cNvSpPr>
            <a:spLocks noGrp="1"/>
          </p:cNvSpPr>
          <p:nvPr userDrawn="1">
            <p:ph type="sldNum" sz="quarter" idx="4"/>
          </p:nvPr>
        </p:nvSpPr>
        <p:spPr>
          <a:xfrm>
            <a:off x="9115425" y="6511925"/>
            <a:ext cx="790575" cy="346075"/>
          </a:xfrm>
          <a:prstGeom prst="rect">
            <a:avLst/>
          </a:prstGeom>
        </p:spPr>
        <p:txBody>
          <a:bodyPr/>
          <a:lstStyle>
            <a:lvl1pPr algn="r">
              <a:defRPr>
                <a:cs typeface="+mn-cs"/>
              </a:defRPr>
            </a:lvl1pPr>
          </a:lstStyle>
          <a:p>
            <a:pPr>
              <a:defRPr/>
            </a:pPr>
            <a:fld id="{64DD2DD4-DBB1-49B5-9FD3-B8A962A239F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</p:sldLayoutIdLst>
  <p:hf hdr="0" ftr="0" dt="0"/>
  <p:txStyles>
    <p:titleStyle>
      <a:lvl1pPr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r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r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60000"/>
        </a:spcBef>
        <a:spcAft>
          <a:spcPct val="0"/>
        </a:spcAft>
        <a:buClr>
          <a:srgbClr val="947C18"/>
        </a:buClr>
        <a:buFont typeface="Wingdings" pitchFamily="2" charset="2"/>
        <a:buChar char="§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647700" indent="-303213" algn="l" rtl="0" eaLnBrk="0" fontAlgn="base" hangingPunct="0">
        <a:spcBef>
          <a:spcPct val="20000"/>
        </a:spcBef>
        <a:spcAft>
          <a:spcPct val="0"/>
        </a:spcAft>
        <a:buClr>
          <a:srgbClr val="947C18"/>
        </a:buClr>
        <a:buChar char="•"/>
        <a:defRPr sz="2200">
          <a:solidFill>
            <a:schemeClr val="tx1"/>
          </a:solidFill>
          <a:latin typeface="+mn-lt"/>
        </a:defRPr>
      </a:lvl2pPr>
      <a:lvl3pPr marL="904875" indent="-2571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200">
          <a:solidFill>
            <a:schemeClr val="tx1"/>
          </a:solidFill>
          <a:latin typeface="Century Gothic" pitchFamily="34" charset="0"/>
        </a:defRPr>
      </a:lvl3pPr>
      <a:lvl4pPr marL="1162050" indent="-255588" algn="l" rtl="0" eaLnBrk="0" fontAlgn="base" hangingPunct="0">
        <a:spcBef>
          <a:spcPct val="20000"/>
        </a:spcBef>
        <a:spcAft>
          <a:spcPct val="0"/>
        </a:spcAft>
        <a:buClr>
          <a:srgbClr val="E7CF6E"/>
        </a:buClr>
        <a:buFont typeface="Century Gothic" pitchFamily="34" charset="0"/>
        <a:buChar char="–"/>
        <a:defRPr sz="2200">
          <a:solidFill>
            <a:schemeClr val="tx1"/>
          </a:solidFill>
          <a:latin typeface="Century Gothic" pitchFamily="34" charset="0"/>
        </a:defRPr>
      </a:lvl4pPr>
      <a:lvl5pPr marL="1408113" indent="-2444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Century Gothic" pitchFamily="34" charset="0"/>
        <a:buChar char="»"/>
        <a:defRPr sz="2200">
          <a:solidFill>
            <a:schemeClr val="tx1"/>
          </a:solidFill>
          <a:latin typeface="Century Gothic" pitchFamily="34" charset="0"/>
        </a:defRPr>
      </a:lvl5pPr>
      <a:lvl6pPr marL="1865313" indent="-24447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Century Gothic" pitchFamily="34" charset="0"/>
        <a:buChar char="»"/>
        <a:defRPr sz="2200">
          <a:solidFill>
            <a:schemeClr val="tx1"/>
          </a:solidFill>
          <a:latin typeface="Century Gothic" pitchFamily="34" charset="0"/>
        </a:defRPr>
      </a:lvl6pPr>
      <a:lvl7pPr marL="2322513" indent="-24447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Century Gothic" pitchFamily="34" charset="0"/>
        <a:buChar char="»"/>
        <a:defRPr sz="2200">
          <a:solidFill>
            <a:schemeClr val="tx1"/>
          </a:solidFill>
          <a:latin typeface="Century Gothic" pitchFamily="34" charset="0"/>
        </a:defRPr>
      </a:lvl7pPr>
      <a:lvl8pPr marL="2779713" indent="-24447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Century Gothic" pitchFamily="34" charset="0"/>
        <a:buChar char="»"/>
        <a:defRPr sz="2200">
          <a:solidFill>
            <a:schemeClr val="tx1"/>
          </a:solidFill>
          <a:latin typeface="Century Gothic" pitchFamily="34" charset="0"/>
        </a:defRPr>
      </a:lvl8pPr>
      <a:lvl9pPr marL="3236913" indent="-244475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Font typeface="Century Gothic" pitchFamily="34" charset="0"/>
        <a:buChar char="»"/>
        <a:defRPr sz="2200">
          <a:solidFill>
            <a:schemeClr val="tx1"/>
          </a:solidFill>
          <a:latin typeface="Century Gothic" pitchFamily="34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8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159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2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471490" y="163513"/>
            <a:ext cx="8348662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 smtClean="0"/>
              <a:t>Slide title</a:t>
            </a:r>
          </a:p>
        </p:txBody>
      </p:sp>
      <p:sp>
        <p:nvSpPr>
          <p:cNvPr id="1028" name="Rectangle 10"/>
          <p:cNvSpPr>
            <a:spLocks noGrp="1" noChangeArrowheads="1"/>
          </p:cNvSpPr>
          <p:nvPr>
            <p:ph type="body" idx="1"/>
            <p:custDataLst>
              <p:tags r:id="rId11"/>
            </p:custDataLst>
          </p:nvPr>
        </p:nvSpPr>
        <p:spPr bwMode="auto">
          <a:xfrm>
            <a:off x="471488" y="1509713"/>
            <a:ext cx="8963026" cy="4613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38454" tIns="38454" rIns="38454" bIns="3845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ru-RU" smtClean="0"/>
              <a:t>Body text</a:t>
            </a:r>
          </a:p>
          <a:p>
            <a:pPr lvl="1"/>
            <a:r>
              <a:rPr lang="en-GB" altLang="ru-RU" smtClean="0"/>
              <a:t>First level</a:t>
            </a:r>
          </a:p>
          <a:p>
            <a:pPr lvl="2"/>
            <a:r>
              <a:rPr lang="en-GB" altLang="ru-RU" smtClean="0"/>
              <a:t>Second level</a:t>
            </a:r>
          </a:p>
          <a:p>
            <a:pPr lvl="3"/>
            <a:r>
              <a:rPr lang="en-GB" altLang="ru-RU" smtClean="0"/>
              <a:t>Third level</a:t>
            </a:r>
          </a:p>
          <a:p>
            <a:pPr lvl="4"/>
            <a:r>
              <a:rPr lang="en-GB" altLang="ru-RU" smtClean="0"/>
              <a:t>Quotation level</a:t>
            </a:r>
          </a:p>
        </p:txBody>
      </p:sp>
      <p:sp>
        <p:nvSpPr>
          <p:cNvPr id="2" name="Text Box 1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9250363" y="6675438"/>
            <a:ext cx="190500" cy="131762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890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890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D0D6B28-6F6C-4446-BD38-778025C431ED}" type="slidenum">
              <a:rPr lang="en-GB" sz="900" smtClean="0">
                <a:solidFill>
                  <a:srgbClr val="000000"/>
                </a:solidFill>
              </a:rPr>
              <a:pPr algn="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00" smtClean="0">
              <a:solidFill>
                <a:srgbClr val="000000"/>
              </a:solidFill>
            </a:endParaRPr>
          </a:p>
        </p:txBody>
      </p:sp>
      <p:sp>
        <p:nvSpPr>
          <p:cNvPr id="1030" name="Rectangle 12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0" y="989013"/>
            <a:ext cx="9906000" cy="109537"/>
          </a:xfrm>
          <a:prstGeom prst="rect">
            <a:avLst/>
          </a:prstGeom>
          <a:solidFill>
            <a:srgbClr val="F0D500"/>
          </a:solidFill>
          <a:ln>
            <a:noFill/>
          </a:ln>
          <a:extLst/>
        </p:spPr>
        <p:txBody>
          <a:bodyPr wrap="none" tIns="91440" bIns="91440" anchor="ctr"/>
          <a:lstStyle>
            <a:lvl1pPr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altLang="ru-RU" smtClean="0">
              <a:solidFill>
                <a:srgbClr val="000000"/>
              </a:solidFill>
            </a:endParaRPr>
          </a:p>
        </p:txBody>
      </p:sp>
      <p:pic>
        <p:nvPicPr>
          <p:cNvPr id="1031" name="Picture 1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1902" y="225425"/>
            <a:ext cx="550863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1913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</p:sldLayoutIdLst>
  <p:hf hdr="0" ftr="0" dt="0"/>
  <p:txStyles>
    <p:titleStyle>
      <a:lvl1pPr algn="l" defTabSz="889000" rtl="0" eaLnBrk="0" fontAlgn="base" hangingPunct="0">
        <a:spcBef>
          <a:spcPct val="0"/>
        </a:spcBef>
        <a:spcAft>
          <a:spcPct val="0"/>
        </a:spcAft>
        <a:defRPr lang="en-GB" dirty="0">
          <a:solidFill>
            <a:schemeClr val="tx1"/>
          </a:solidFill>
          <a:latin typeface="+mj-lt"/>
          <a:ea typeface="+mj-ea"/>
          <a:cs typeface="+mj-cs"/>
        </a:defRPr>
      </a:lvl1pPr>
      <a:lvl2pPr algn="l" defTabSz="889000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cs typeface="Arial" charset="0"/>
        </a:defRPr>
      </a:lvl2pPr>
      <a:lvl3pPr algn="l" defTabSz="889000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cs typeface="Arial" charset="0"/>
        </a:defRPr>
      </a:lvl3pPr>
      <a:lvl4pPr algn="l" defTabSz="889000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cs typeface="Arial" charset="0"/>
        </a:defRPr>
      </a:lvl4pPr>
      <a:lvl5pPr algn="l" defTabSz="889000" rtl="0" eaLnBrk="0" fontAlgn="base" hangingPunct="0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  <a:cs typeface="Arial" charset="0"/>
        </a:defRPr>
      </a:lvl5pPr>
      <a:lvl6pPr marL="457200"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defTabSz="889000" rtl="0" eaLnBrk="0" fontAlgn="base" hangingPunct="0">
        <a:spcBef>
          <a:spcPct val="20000"/>
        </a:spcBef>
        <a:spcAft>
          <a:spcPct val="0"/>
        </a:spcAft>
        <a:defRPr lang="en-GB" sz="1200" dirty="0">
          <a:solidFill>
            <a:schemeClr val="tx1"/>
          </a:solidFill>
          <a:latin typeface="+mn-lt"/>
          <a:ea typeface="+mn-ea"/>
          <a:cs typeface="+mn-cs"/>
        </a:defRPr>
      </a:lvl1pPr>
      <a:lvl2pPr marL="444500" indent="-222250" algn="l" defTabSz="889000" rtl="0" eaLnBrk="0" fontAlgn="base" hangingPunct="0">
        <a:spcBef>
          <a:spcPct val="20000"/>
        </a:spcBef>
        <a:spcAft>
          <a:spcPct val="0"/>
        </a:spcAft>
        <a:buClr>
          <a:srgbClr val="F0D500"/>
        </a:buClr>
        <a:buChar char="•"/>
        <a:defRPr sz="1200">
          <a:solidFill>
            <a:schemeClr val="tx1"/>
          </a:solidFill>
          <a:latin typeface="+mn-lt"/>
          <a:cs typeface="+mn-cs"/>
        </a:defRPr>
      </a:lvl2pPr>
      <a:lvl3pPr marL="889000" indent="-222250" algn="l" defTabSz="889000" rtl="0" eaLnBrk="0" fontAlgn="base" hangingPunct="0">
        <a:spcBef>
          <a:spcPct val="20000"/>
        </a:spcBef>
        <a:spcAft>
          <a:spcPct val="0"/>
        </a:spcAft>
        <a:buClr>
          <a:srgbClr val="F0D500"/>
        </a:buClr>
        <a:buFont typeface="Arial" pitchFamily="34" charset="0"/>
        <a:buChar char="─"/>
        <a:defRPr sz="1200">
          <a:solidFill>
            <a:schemeClr val="tx1"/>
          </a:solidFill>
          <a:latin typeface="+mn-lt"/>
          <a:cs typeface="+mn-cs"/>
        </a:defRPr>
      </a:lvl3pPr>
      <a:lvl4pPr marL="1338263" indent="-227013" algn="l" defTabSz="889000" rtl="0" eaLnBrk="0" fontAlgn="base" hangingPunct="0">
        <a:spcBef>
          <a:spcPct val="20000"/>
        </a:spcBef>
        <a:spcAft>
          <a:spcPct val="0"/>
        </a:spcAft>
        <a:buClr>
          <a:srgbClr val="F0D500"/>
        </a:buClr>
        <a:buFont typeface="Arial" pitchFamily="34" charset="0"/>
        <a:buChar char="─"/>
        <a:defRPr sz="1200">
          <a:solidFill>
            <a:schemeClr val="tx1"/>
          </a:solidFill>
          <a:latin typeface="+mn-lt"/>
          <a:cs typeface="+mn-cs"/>
        </a:defRPr>
      </a:lvl4pPr>
      <a:lvl5pPr marL="1998663" indent="-220663" algn="l" defTabSz="889000" rtl="0" eaLnBrk="0" fontAlgn="base" hangingPunct="0">
        <a:spcBef>
          <a:spcPct val="20000"/>
        </a:spcBef>
        <a:spcAft>
          <a:spcPct val="0"/>
        </a:spcAft>
        <a:buClr>
          <a:srgbClr val="F0D500"/>
        </a:buClr>
        <a:buFont typeface="Arial" pitchFamily="34" charset="0"/>
        <a:buChar char="─"/>
        <a:defRPr sz="1200">
          <a:solidFill>
            <a:schemeClr val="tx1"/>
          </a:solidFill>
          <a:latin typeface="+mn-lt"/>
          <a:cs typeface="+mn-cs"/>
        </a:defRPr>
      </a:lvl5pPr>
      <a:lvl6pPr marL="2455863" indent="-220663" algn="l" defTabSz="88900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fontAlgn="base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EA_Tkachenko6@nnpo.rosneft.ru" TargetMode="External"/><Relationship Id="rId2" Type="http://schemas.openxmlformats.org/officeDocument/2006/relationships/hyperlink" Target="mailto:RTShikhova@nnpo.rosneft.ru" TargetMode="Externa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Text Box 4"/>
          <p:cNvSpPr txBox="1">
            <a:spLocks noChangeArrowheads="1"/>
          </p:cNvSpPr>
          <p:nvPr/>
        </p:nvSpPr>
        <p:spPr bwMode="auto">
          <a:xfrm>
            <a:off x="3744962" y="5896234"/>
            <a:ext cx="237249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50000"/>
              </a:spcBef>
            </a:pPr>
            <a:r>
              <a:rPr lang="ru-RU" sz="1000" b="1" dirty="0" smtClean="0">
                <a:latin typeface="+mj-lt"/>
              </a:rPr>
              <a:t>202</a:t>
            </a:r>
            <a:r>
              <a:rPr lang="en-US" sz="1000" b="1" dirty="0" smtClean="0">
                <a:latin typeface="+mj-lt"/>
              </a:rPr>
              <a:t>3</a:t>
            </a:r>
            <a:r>
              <a:rPr lang="ru-RU" sz="1000" b="1" dirty="0" smtClean="0">
                <a:latin typeface="+mj-lt"/>
              </a:rPr>
              <a:t> год</a:t>
            </a:r>
            <a:endParaRPr lang="ru-RU" sz="1000" b="1" dirty="0">
              <a:latin typeface="+mj-lt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00364" y="1230853"/>
            <a:ext cx="869141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Century Gothic" pitchFamily="34" charset="0"/>
              </a:rPr>
              <a:t>        </a:t>
            </a:r>
            <a:r>
              <a:rPr lang="ru-RU" sz="2000" b="1" dirty="0" smtClean="0">
                <a:latin typeface="+mj-lt"/>
              </a:rPr>
              <a:t>ООО «</a:t>
            </a:r>
            <a:r>
              <a:rPr lang="ru-RU" sz="2000" b="1" dirty="0" err="1" smtClean="0">
                <a:latin typeface="+mj-lt"/>
              </a:rPr>
              <a:t>Нижневартовское</a:t>
            </a:r>
            <a:r>
              <a:rPr lang="ru-RU" sz="2000" b="1" dirty="0" smtClean="0">
                <a:latin typeface="+mj-lt"/>
              </a:rPr>
              <a:t> </a:t>
            </a:r>
            <a:r>
              <a:rPr lang="ru-RU" sz="2000" b="1" dirty="0">
                <a:latin typeface="+mj-lt"/>
              </a:rPr>
              <a:t>нефтеперерабатывающее объединение</a:t>
            </a:r>
            <a:r>
              <a:rPr lang="ru-RU" sz="2000" b="1" dirty="0" smtClean="0">
                <a:latin typeface="+mj-lt"/>
              </a:rPr>
              <a:t>»  (ООО «ННПО») </a:t>
            </a:r>
            <a:endParaRPr lang="ru-RU" sz="2000" b="1" dirty="0">
              <a:latin typeface="+mj-lt"/>
            </a:endParaRPr>
          </a:p>
        </p:txBody>
      </p:sp>
      <p:pic>
        <p:nvPicPr>
          <p:cNvPr id="11266" name="Picture 2" descr="C:\Users\RTshikhova\Desktop\Фотоархив\18032022 РН ННПО газета\18032022 РН ННПО газета jpeg\1DX_065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19"/>
          <a:stretch/>
        </p:blipFill>
        <p:spPr bwMode="auto">
          <a:xfrm>
            <a:off x="723900" y="2336792"/>
            <a:ext cx="4780975" cy="3270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Объект 2"/>
          <p:cNvSpPr txBox="1">
            <a:spLocks/>
          </p:cNvSpPr>
          <p:nvPr/>
        </p:nvSpPr>
        <p:spPr>
          <a:xfrm>
            <a:off x="5838825" y="4067175"/>
            <a:ext cx="3276600" cy="107949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60000"/>
              </a:spcBef>
              <a:spcAft>
                <a:spcPct val="0"/>
              </a:spcAft>
              <a:buClr>
                <a:srgbClr val="947C18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7700" indent="-3032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47C18"/>
              </a:buClr>
              <a:buChar char="•"/>
              <a:defRPr sz="2200">
                <a:solidFill>
                  <a:schemeClr val="tx1"/>
                </a:solidFill>
                <a:latin typeface="+mn-lt"/>
              </a:defRPr>
            </a:lvl2pPr>
            <a:lvl3pPr marL="904875" indent="-2571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200">
                <a:solidFill>
                  <a:schemeClr val="tx1"/>
                </a:solidFill>
                <a:latin typeface="Century Gothic" pitchFamily="34" charset="0"/>
              </a:defRPr>
            </a:lvl3pPr>
            <a:lvl4pPr marL="1162050" indent="-2555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7CF6E"/>
              </a:buClr>
              <a:buFont typeface="Century Gothic" pitchFamily="34" charset="0"/>
              <a:buChar char="–"/>
              <a:defRPr sz="2200">
                <a:solidFill>
                  <a:schemeClr val="tx1"/>
                </a:solidFill>
                <a:latin typeface="Century Gothic" pitchFamily="34" charset="0"/>
              </a:defRPr>
            </a:lvl4pPr>
            <a:lvl5pPr marL="1408113" indent="-2444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5pPr>
            <a:lvl6pPr marL="18653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6pPr>
            <a:lvl7pPr marL="23225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7pPr>
            <a:lvl8pPr marL="27797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8pPr>
            <a:lvl9pPr marL="32369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 marL="0" indent="0">
              <a:buFont typeface="Wingdings" pitchFamily="2" charset="2"/>
              <a:buNone/>
            </a:pPr>
            <a:endParaRPr lang="ru-RU" kern="0" dirty="0"/>
          </a:p>
        </p:txBody>
      </p:sp>
      <p:sp>
        <p:nvSpPr>
          <p:cNvPr id="11" name="Объект 2"/>
          <p:cNvSpPr txBox="1">
            <a:spLocks/>
          </p:cNvSpPr>
          <p:nvPr/>
        </p:nvSpPr>
        <p:spPr>
          <a:xfrm>
            <a:off x="5622159" y="3632609"/>
            <a:ext cx="3533775" cy="2274815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60000"/>
              </a:spcBef>
              <a:spcAft>
                <a:spcPct val="0"/>
              </a:spcAft>
              <a:buClr>
                <a:srgbClr val="947C18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7700" indent="-3032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47C18"/>
              </a:buClr>
              <a:buChar char="•"/>
              <a:defRPr sz="2200">
                <a:solidFill>
                  <a:schemeClr val="tx1"/>
                </a:solidFill>
                <a:latin typeface="+mn-lt"/>
              </a:defRPr>
            </a:lvl2pPr>
            <a:lvl3pPr marL="904875" indent="-2571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200">
                <a:solidFill>
                  <a:schemeClr val="tx1"/>
                </a:solidFill>
                <a:latin typeface="Century Gothic" pitchFamily="34" charset="0"/>
              </a:defRPr>
            </a:lvl3pPr>
            <a:lvl4pPr marL="1162050" indent="-2555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7CF6E"/>
              </a:buClr>
              <a:buFont typeface="Century Gothic" pitchFamily="34" charset="0"/>
              <a:buChar char="–"/>
              <a:defRPr sz="2200">
                <a:solidFill>
                  <a:schemeClr val="tx1"/>
                </a:solidFill>
                <a:latin typeface="Century Gothic" pitchFamily="34" charset="0"/>
              </a:defRPr>
            </a:lvl4pPr>
            <a:lvl5pPr marL="1408113" indent="-2444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5pPr>
            <a:lvl6pPr marL="18653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6pPr>
            <a:lvl7pPr marL="23225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7pPr>
            <a:lvl8pPr marL="27797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8pPr>
            <a:lvl9pPr marL="32369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endParaRPr lang="ru-RU" sz="2000" kern="0" dirty="0" smtClean="0"/>
          </a:p>
          <a:p>
            <a:pPr marL="0" indent="0">
              <a:spcBef>
                <a:spcPts val="0"/>
              </a:spcBef>
              <a:buNone/>
            </a:pPr>
            <a:endParaRPr lang="ru-RU" sz="2000" kern="0" dirty="0"/>
          </a:p>
          <a:p>
            <a:pPr marL="0" indent="0">
              <a:spcBef>
                <a:spcPts val="0"/>
              </a:spcBef>
              <a:buNone/>
            </a:pPr>
            <a:endParaRPr lang="ru-RU" sz="2000" kern="0" dirty="0" smtClean="0"/>
          </a:p>
          <a:p>
            <a:pPr marL="0" indent="0">
              <a:spcBef>
                <a:spcPts val="0"/>
              </a:spcBef>
              <a:buNone/>
            </a:pPr>
            <a:endParaRPr lang="ru-RU" sz="2000" kern="0" dirty="0"/>
          </a:p>
          <a:p>
            <a:pPr marL="0" indent="0">
              <a:spcBef>
                <a:spcPts val="0"/>
              </a:spcBef>
              <a:buNone/>
            </a:pPr>
            <a:r>
              <a:rPr lang="ru-RU" sz="2000" kern="0" dirty="0" smtClean="0"/>
              <a:t>Генеральный директор 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2000" kern="0" dirty="0" smtClean="0"/>
              <a:t>Н.В. Родыгин</a:t>
            </a:r>
            <a:endParaRPr lang="ru-RU" sz="2000" kern="0" dirty="0"/>
          </a:p>
        </p:txBody>
      </p:sp>
      <p:sp>
        <p:nvSpPr>
          <p:cNvPr id="13" name="Объект 2"/>
          <p:cNvSpPr txBox="1">
            <a:spLocks/>
          </p:cNvSpPr>
          <p:nvPr/>
        </p:nvSpPr>
        <p:spPr>
          <a:xfrm>
            <a:off x="303794" y="285750"/>
            <a:ext cx="1458043" cy="828675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342900" indent="-342900" algn="l" rtl="0" eaLnBrk="0" fontAlgn="base" hangingPunct="0">
              <a:spcBef>
                <a:spcPct val="60000"/>
              </a:spcBef>
              <a:spcAft>
                <a:spcPct val="0"/>
              </a:spcAft>
              <a:buClr>
                <a:srgbClr val="947C18"/>
              </a:buClr>
              <a:buFont typeface="Wingdings" pitchFamily="2" charset="2"/>
              <a:buChar char="§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47700" indent="-3032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947C18"/>
              </a:buClr>
              <a:buChar char="•"/>
              <a:defRPr sz="2200">
                <a:solidFill>
                  <a:schemeClr val="tx1"/>
                </a:solidFill>
                <a:latin typeface="+mn-lt"/>
              </a:defRPr>
            </a:lvl2pPr>
            <a:lvl3pPr marL="904875" indent="-2571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200">
                <a:solidFill>
                  <a:schemeClr val="tx1"/>
                </a:solidFill>
                <a:latin typeface="Century Gothic" pitchFamily="34" charset="0"/>
              </a:defRPr>
            </a:lvl3pPr>
            <a:lvl4pPr marL="1162050" indent="-2555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7CF6E"/>
              </a:buClr>
              <a:buFont typeface="Century Gothic" pitchFamily="34" charset="0"/>
              <a:buChar char="–"/>
              <a:defRPr sz="2200">
                <a:solidFill>
                  <a:schemeClr val="tx1"/>
                </a:solidFill>
                <a:latin typeface="Century Gothic" pitchFamily="34" charset="0"/>
              </a:defRPr>
            </a:lvl4pPr>
            <a:lvl5pPr marL="1408113" indent="-24447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5pPr>
            <a:lvl6pPr marL="18653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6pPr>
            <a:lvl7pPr marL="23225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7pPr>
            <a:lvl8pPr marL="27797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8pPr>
            <a:lvl9pPr marL="3236913" indent="-24447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Century Gothic" pitchFamily="34" charset="0"/>
              <a:buChar char="»"/>
              <a:defRPr sz="2200">
                <a:solidFill>
                  <a:schemeClr val="tx1"/>
                </a:solidFill>
                <a:latin typeface="Century Gothic" pitchFamily="34" charset="0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endParaRPr lang="ru-RU" sz="2000" kern="0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755"/>
          <a:stretch/>
        </p:blipFill>
        <p:spPr>
          <a:xfrm>
            <a:off x="424009" y="132207"/>
            <a:ext cx="1217612" cy="925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7786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Социальная поддержка молодых специалистов ООО «ННПО»</a:t>
            </a:r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2504666549"/>
              </p:ext>
            </p:extLst>
          </p:nvPr>
        </p:nvGraphicFramePr>
        <p:xfrm>
          <a:off x="533400" y="1160991"/>
          <a:ext cx="8572500" cy="46111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45702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Обучение и развитие молодых специалистов ООО «ННПО»</a:t>
            </a:r>
            <a:endParaRPr lang="ru-RU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1243901362"/>
              </p:ext>
            </p:extLst>
          </p:nvPr>
        </p:nvGraphicFramePr>
        <p:xfrm>
          <a:off x="533400" y="1160991"/>
          <a:ext cx="8572500" cy="4402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04180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>
                <a:latin typeface="+mn-lt"/>
              </a:rPr>
              <a:t>Основные востребованные </a:t>
            </a:r>
            <a:r>
              <a:rPr lang="ru-RU" sz="2000" b="1" dirty="0" smtClean="0">
                <a:latin typeface="+mn-lt"/>
              </a:rPr>
              <a:t>профессии</a:t>
            </a:r>
            <a:r>
              <a:rPr lang="en-US" sz="2000" b="1" dirty="0" smtClean="0">
                <a:latin typeface="+mn-lt"/>
              </a:rPr>
              <a:t/>
            </a:r>
            <a:br>
              <a:rPr lang="en-US" sz="2000" b="1" dirty="0" smtClean="0">
                <a:latin typeface="+mn-lt"/>
              </a:rPr>
            </a:br>
            <a:endParaRPr lang="ru-RU" sz="2000" b="1" dirty="0">
              <a:latin typeface="+mn-lt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460636" y="1219200"/>
            <a:ext cx="8710033" cy="52044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 lang="en-GB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000" kern="0" dirty="0" smtClean="0">
                <a:latin typeface="+mn-lt"/>
              </a:rPr>
              <a:t>Оператор технологических установок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000" kern="0" dirty="0" smtClean="0">
                <a:latin typeface="+mn-lt"/>
              </a:rPr>
              <a:t>Оператор товарный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000" kern="0" dirty="0" smtClean="0">
                <a:latin typeface="+mn-lt"/>
              </a:rPr>
              <a:t>Лаборант химического анализа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000" kern="0" dirty="0" smtClean="0">
                <a:latin typeface="+mn-lt"/>
              </a:rPr>
              <a:t>Электромонтёр по ремонту и обслуживанию </a:t>
            </a:r>
            <a:r>
              <a:rPr lang="ru-RU" sz="2000" kern="0" dirty="0">
                <a:latin typeface="+mn-lt"/>
              </a:rPr>
              <a:t>э</a:t>
            </a:r>
            <a:r>
              <a:rPr lang="ru-RU" sz="2000" kern="0" dirty="0" smtClean="0">
                <a:latin typeface="+mn-lt"/>
              </a:rPr>
              <a:t>лектрооборудования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000" kern="0" dirty="0" err="1" smtClean="0">
                <a:latin typeface="+mn-lt"/>
              </a:rPr>
              <a:t>Приборист</a:t>
            </a:r>
            <a:r>
              <a:rPr lang="ru-RU" sz="2000" kern="0" dirty="0" smtClean="0">
                <a:latin typeface="+mn-lt"/>
              </a:rPr>
              <a:t> </a:t>
            </a:r>
            <a:endParaRPr lang="en-US" sz="2000" kern="0" dirty="0" smtClean="0"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000" kern="0" dirty="0" smtClean="0">
                <a:latin typeface="+mn-lt"/>
              </a:rPr>
              <a:t>Технолог</a:t>
            </a:r>
          </a:p>
          <a:p>
            <a:r>
              <a:rPr lang="ru-RU" sz="2000" b="1" kern="0" dirty="0" smtClean="0">
                <a:latin typeface="+mn-lt"/>
              </a:rPr>
              <a:t>Общество готово принять производственную практику студентов по специальности</a:t>
            </a:r>
            <a:r>
              <a:rPr lang="en-US" sz="2000" b="1" kern="0" dirty="0" smtClean="0">
                <a:latin typeface="+mn-lt"/>
              </a:rPr>
              <a:t>:</a:t>
            </a:r>
          </a:p>
          <a:p>
            <a:pPr marL="457200" indent="-457200">
              <a:buFontTx/>
              <a:buChar char="-"/>
            </a:pPr>
            <a:r>
              <a:rPr lang="ru-RU" sz="2000" kern="0" dirty="0" smtClean="0">
                <a:latin typeface="+mn-lt"/>
              </a:rPr>
              <a:t>Химическая технология природных энергоносителей и углеродных материалов</a:t>
            </a:r>
            <a:r>
              <a:rPr lang="en-US" sz="2000" kern="0" dirty="0" smtClean="0">
                <a:latin typeface="+mn-lt"/>
              </a:rPr>
              <a:t>;</a:t>
            </a:r>
          </a:p>
          <a:p>
            <a:pPr marL="457200" indent="-457200">
              <a:buFontTx/>
              <a:buChar char="-"/>
            </a:pPr>
            <a:r>
              <a:rPr lang="ru-RU" sz="2000" kern="0" dirty="0" smtClean="0">
                <a:latin typeface="+mn-lt"/>
              </a:rPr>
              <a:t>Переработка нефти</a:t>
            </a:r>
            <a:r>
              <a:rPr lang="en-US" sz="2000" kern="0" dirty="0" smtClean="0">
                <a:latin typeface="+mn-lt"/>
              </a:rPr>
              <a:t>;</a:t>
            </a:r>
          </a:p>
          <a:p>
            <a:pPr marL="457200" indent="-457200">
              <a:buFontTx/>
              <a:buChar char="-"/>
            </a:pPr>
            <a:r>
              <a:rPr lang="ru-RU" sz="2000" kern="0" dirty="0" smtClean="0">
                <a:latin typeface="+mn-lt"/>
              </a:rPr>
              <a:t>Электрооборудование и электрохозяйство</a:t>
            </a:r>
            <a:r>
              <a:rPr lang="en-US" sz="2000" kern="0" dirty="0" smtClean="0">
                <a:latin typeface="+mn-lt"/>
              </a:rPr>
              <a:t>;</a:t>
            </a:r>
          </a:p>
          <a:p>
            <a:pPr marL="457200" indent="-457200">
              <a:buFontTx/>
              <a:buChar char="-"/>
            </a:pPr>
            <a:r>
              <a:rPr lang="ru-RU" sz="2000" kern="0" dirty="0">
                <a:latin typeface="+mn-lt"/>
              </a:rPr>
              <a:t>Автоматизация </a:t>
            </a:r>
            <a:r>
              <a:rPr lang="ru-RU" sz="2000" kern="0" dirty="0" smtClean="0">
                <a:latin typeface="+mn-lt"/>
              </a:rPr>
              <a:t>технологических </a:t>
            </a:r>
            <a:r>
              <a:rPr lang="ru-RU" sz="2000" kern="0" dirty="0">
                <a:latin typeface="+mn-lt"/>
              </a:rPr>
              <a:t>процессов и </a:t>
            </a:r>
            <a:r>
              <a:rPr lang="ru-RU" sz="2000" kern="0" dirty="0" smtClean="0">
                <a:latin typeface="+mn-lt"/>
              </a:rPr>
              <a:t>производств</a:t>
            </a:r>
          </a:p>
          <a:p>
            <a:pPr marL="342900" indent="-342900" algn="just">
              <a:buFontTx/>
              <a:buChar char="-"/>
            </a:pPr>
            <a:endParaRPr lang="en-US" sz="2000" dirty="0" smtClean="0">
              <a:solidFill>
                <a:srgbClr val="C00000"/>
              </a:solidFill>
            </a:endParaRPr>
          </a:p>
          <a:p>
            <a:pPr algn="just"/>
            <a:r>
              <a:rPr lang="ru-RU" sz="2000" dirty="0" smtClean="0">
                <a:solidFill>
                  <a:srgbClr val="C00000"/>
                </a:solidFill>
              </a:rPr>
              <a:t>Общество готово принять на оплачиваемую практику при наличии удостоверения по профессии.</a:t>
            </a:r>
            <a:endParaRPr lang="ru-RU" sz="2000" dirty="0">
              <a:solidFill>
                <a:srgbClr val="C00000"/>
              </a:solidFill>
            </a:endParaRPr>
          </a:p>
          <a:p>
            <a:pPr marL="457200" indent="-457200">
              <a:buFontTx/>
              <a:buChar char="-"/>
            </a:pPr>
            <a:endParaRPr lang="ru-RU" sz="2000" kern="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069129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>
                <a:latin typeface="+mn-lt"/>
              </a:rPr>
              <a:t>Основные востребованные профессии</a:t>
            </a:r>
            <a:endParaRPr lang="ru-RU" sz="2000" b="1" dirty="0">
              <a:latin typeface="+mn-lt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472440" y="1110615"/>
            <a:ext cx="9254489" cy="46424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 lang="en-GB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ru-RU" sz="2000" b="1" u="sng" dirty="0" smtClean="0"/>
              <a:t>Наличие </a:t>
            </a:r>
            <a:r>
              <a:rPr lang="ru-RU" sz="2000" b="1" u="sng" dirty="0"/>
              <a:t>открытых вакансий</a:t>
            </a:r>
            <a:r>
              <a:rPr lang="ru-RU" sz="2000" b="1" u="sng" dirty="0" smtClean="0"/>
              <a:t>:</a:t>
            </a:r>
          </a:p>
          <a:p>
            <a:endParaRPr lang="ru-RU" sz="2000" dirty="0"/>
          </a:p>
          <a:p>
            <a:r>
              <a:rPr lang="ru-RU" sz="2000" dirty="0"/>
              <a:t>- </a:t>
            </a:r>
            <a:r>
              <a:rPr lang="en-US" sz="2000" dirty="0" smtClean="0"/>
              <a:t>   </a:t>
            </a:r>
            <a:r>
              <a:rPr lang="ru-RU" sz="2000" dirty="0" smtClean="0"/>
              <a:t>лаборант </a:t>
            </a:r>
            <a:r>
              <a:rPr lang="ru-RU" sz="2000" dirty="0"/>
              <a:t>химического анализа</a:t>
            </a:r>
            <a:r>
              <a:rPr lang="en-US" sz="2000" dirty="0"/>
              <a:t>;</a:t>
            </a:r>
            <a:endParaRPr lang="ru-RU" sz="2000" dirty="0"/>
          </a:p>
          <a:p>
            <a:r>
              <a:rPr lang="ru-RU" sz="2000" dirty="0"/>
              <a:t>- </a:t>
            </a:r>
            <a:r>
              <a:rPr lang="en-US" sz="2000" dirty="0" smtClean="0"/>
              <a:t>   </a:t>
            </a:r>
            <a:r>
              <a:rPr lang="ru-RU" sz="2000" dirty="0" smtClean="0"/>
              <a:t>электромонтер </a:t>
            </a:r>
            <a:r>
              <a:rPr lang="ru-RU" sz="2000" dirty="0"/>
              <a:t>по ремонту и обслуживанию электрооборудования;</a:t>
            </a:r>
          </a:p>
          <a:p>
            <a:pPr marL="342900" indent="-342900">
              <a:buFontTx/>
              <a:buChar char="-"/>
            </a:pPr>
            <a:r>
              <a:rPr lang="ru-RU" sz="2000" dirty="0" smtClean="0"/>
              <a:t>оператор </a:t>
            </a:r>
            <a:r>
              <a:rPr lang="ru-RU" sz="2000" dirty="0"/>
              <a:t>технологических </a:t>
            </a:r>
            <a:r>
              <a:rPr lang="ru-RU" sz="2000" dirty="0" smtClean="0"/>
              <a:t>установок</a:t>
            </a:r>
            <a:r>
              <a:rPr lang="en-US" sz="2000" dirty="0" smtClean="0"/>
              <a:t>;</a:t>
            </a:r>
          </a:p>
          <a:p>
            <a:pPr marL="342900" indent="-342900">
              <a:buFontTx/>
              <a:buChar char="-"/>
            </a:pPr>
            <a:r>
              <a:rPr lang="ru-RU" sz="2000" dirty="0" smtClean="0"/>
              <a:t>оператор товарный</a:t>
            </a:r>
            <a:r>
              <a:rPr lang="en-US" sz="2000" dirty="0" smtClean="0"/>
              <a:t>;</a:t>
            </a:r>
            <a:endParaRPr lang="ru-RU" sz="2000" dirty="0" smtClean="0"/>
          </a:p>
          <a:p>
            <a:pPr marL="342900" indent="-342900">
              <a:buFontTx/>
              <a:buChar char="-"/>
            </a:pPr>
            <a:r>
              <a:rPr lang="ru-RU" sz="2000" dirty="0" err="1" smtClean="0"/>
              <a:t>приборист</a:t>
            </a:r>
            <a:r>
              <a:rPr lang="en-US" sz="2000" dirty="0" smtClean="0"/>
              <a:t>;</a:t>
            </a:r>
            <a:endParaRPr lang="ru-RU" sz="2000" dirty="0" smtClean="0"/>
          </a:p>
          <a:p>
            <a:pPr marL="342900" indent="-342900">
              <a:buFontTx/>
              <a:buChar char="-"/>
            </a:pPr>
            <a:r>
              <a:rPr lang="ru-RU" sz="2000" dirty="0" smtClean="0"/>
              <a:t>слесарь </a:t>
            </a:r>
            <a:r>
              <a:rPr lang="ru-RU" sz="2000" dirty="0"/>
              <a:t>по ремонту технологических </a:t>
            </a:r>
            <a:r>
              <a:rPr lang="ru-RU" sz="2000" dirty="0" smtClean="0"/>
              <a:t>установок</a:t>
            </a:r>
            <a:r>
              <a:rPr lang="en-US" sz="2000" dirty="0" smtClean="0"/>
              <a:t>;</a:t>
            </a:r>
          </a:p>
          <a:p>
            <a:pPr marL="342900" indent="-342900">
              <a:buFontTx/>
              <a:buChar char="-"/>
            </a:pPr>
            <a:r>
              <a:rPr lang="ru-RU" sz="2000" dirty="0"/>
              <a:t>в</a:t>
            </a:r>
            <a:r>
              <a:rPr lang="ru-RU" sz="2000" dirty="0" smtClean="0"/>
              <a:t>едущий технолог</a:t>
            </a:r>
            <a:r>
              <a:rPr lang="en-US" sz="2000" dirty="0" smtClean="0"/>
              <a:t>;</a:t>
            </a:r>
            <a:endParaRPr lang="ru-RU" sz="2000" dirty="0" smtClean="0"/>
          </a:p>
          <a:p>
            <a:pPr marL="342900" indent="-342900">
              <a:buFontTx/>
              <a:buChar char="-"/>
            </a:pPr>
            <a:r>
              <a:rPr lang="ru-RU" sz="2000" dirty="0" smtClean="0"/>
              <a:t>инженер по теплоэнергетике</a:t>
            </a:r>
            <a:r>
              <a:rPr lang="en-US" sz="2000" dirty="0" smtClean="0"/>
              <a:t>;</a:t>
            </a:r>
          </a:p>
          <a:p>
            <a:pPr marL="342900" indent="-342900">
              <a:buFontTx/>
              <a:buChar char="-"/>
            </a:pPr>
            <a:r>
              <a:rPr lang="ru-RU" sz="2000" dirty="0" smtClean="0"/>
              <a:t>ведущий инженер по транспорту</a:t>
            </a:r>
            <a:r>
              <a:rPr lang="en-US" sz="2000" dirty="0" smtClean="0"/>
              <a:t>;</a:t>
            </a:r>
          </a:p>
          <a:p>
            <a:pPr marL="342900" indent="-342900">
              <a:buFontTx/>
              <a:buChar char="-"/>
            </a:pPr>
            <a:r>
              <a:rPr lang="ru-RU" sz="2000" dirty="0"/>
              <a:t>в</a:t>
            </a:r>
            <a:r>
              <a:rPr lang="ru-RU" sz="2000" dirty="0" smtClean="0"/>
              <a:t>едущий </a:t>
            </a:r>
            <a:r>
              <a:rPr lang="ru-RU" sz="2000" dirty="0"/>
              <a:t>инженер по промышленной и пожарной </a:t>
            </a:r>
            <a:r>
              <a:rPr lang="ru-RU" sz="2000" dirty="0" smtClean="0"/>
              <a:t>безопасности.</a:t>
            </a:r>
            <a:endParaRPr lang="en-US" sz="2000" dirty="0" smtClean="0"/>
          </a:p>
          <a:p>
            <a:pPr marL="342900" indent="-342900">
              <a:buFontTx/>
              <a:buChar char="-"/>
            </a:pPr>
            <a:endParaRPr lang="en-US" sz="2000" dirty="0" smtClean="0"/>
          </a:p>
          <a:p>
            <a:pPr marL="342900" indent="-342900">
              <a:buFontTx/>
              <a:buChar char="-"/>
            </a:pPr>
            <a:endParaRPr lang="ru-RU" sz="2000" dirty="0"/>
          </a:p>
          <a:p>
            <a:pPr marL="457200" indent="-457200">
              <a:buFontTx/>
              <a:buChar char="-"/>
            </a:pPr>
            <a:endParaRPr lang="ru-RU" sz="2000" kern="0" dirty="0" smtClean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392405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>
                <a:latin typeface="+mn-lt"/>
              </a:rPr>
              <a:t>Контакты ООО «ННПО»</a:t>
            </a:r>
            <a:endParaRPr lang="ru-RU" sz="2000" b="1" dirty="0">
              <a:latin typeface="+mn-lt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513052" y="1300018"/>
            <a:ext cx="8215312" cy="3210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>
            <a:lvl1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 lang="en-GB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algn="l" defTabSz="889000" rtl="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6pPr>
            <a:lvl7pPr marL="9144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7pPr>
            <a:lvl8pPr marL="13716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8pPr>
            <a:lvl9pPr marL="1828800" algn="l" defTabSz="8890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Trebuchet MS" pitchFamily="34" charset="0"/>
                <a:cs typeface="Arial" charset="0"/>
              </a:defRPr>
            </a:lvl9pPr>
          </a:lstStyle>
          <a:p>
            <a:r>
              <a:rPr lang="ru-RU" sz="2000" b="1" kern="0" dirty="0" smtClean="0"/>
              <a:t>Начальник отдела по персоналу и социальным программам</a:t>
            </a:r>
            <a:r>
              <a:rPr lang="ru-RU" sz="2000" kern="0" dirty="0" smtClean="0"/>
              <a:t> </a:t>
            </a:r>
          </a:p>
          <a:p>
            <a:r>
              <a:rPr lang="ru-RU" sz="2000" kern="0" dirty="0" smtClean="0"/>
              <a:t>Шихова Рима Тимергазиевна (3466) 67-41-65, 89044838664</a:t>
            </a:r>
            <a:r>
              <a:rPr lang="en-US" sz="2000" kern="0" dirty="0" smtClean="0"/>
              <a:t> WhatsApp/Viber</a:t>
            </a:r>
            <a:endParaRPr lang="en-US" sz="2000" kern="0" dirty="0"/>
          </a:p>
          <a:p>
            <a:r>
              <a:rPr lang="en-US" sz="2000" kern="0" dirty="0" smtClean="0">
                <a:hlinkClick r:id="rId2"/>
              </a:rPr>
              <a:t>RTShikhova@nnpo.rosneft.ru</a:t>
            </a:r>
            <a:r>
              <a:rPr lang="en-US" sz="2000" kern="0" dirty="0" smtClean="0"/>
              <a:t>; </a:t>
            </a:r>
            <a:endParaRPr lang="ru-RU" sz="2000" kern="0" dirty="0" smtClean="0"/>
          </a:p>
          <a:p>
            <a:r>
              <a:rPr lang="ru-RU" sz="2000" b="1" kern="0" dirty="0" smtClean="0"/>
              <a:t>Ведущий специалист по обеспечению персонала </a:t>
            </a:r>
            <a:r>
              <a:rPr lang="ru-RU" sz="2000" kern="0" dirty="0"/>
              <a:t> </a:t>
            </a:r>
            <a:r>
              <a:rPr lang="ru-RU" sz="2000" kern="0" dirty="0" smtClean="0"/>
              <a:t>                                       Ткаченко Екатерина Андреевна </a:t>
            </a:r>
            <a:r>
              <a:rPr lang="ru-RU" sz="2000" kern="0" dirty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(3466) </a:t>
            </a:r>
            <a:r>
              <a:rPr lang="ru-RU" sz="2000" kern="0" dirty="0" smtClean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67-41-82 </a:t>
            </a:r>
            <a:r>
              <a:rPr lang="ru-RU" sz="2000" kern="0" dirty="0" err="1" smtClean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доб</a:t>
            </a:r>
            <a:r>
              <a:rPr lang="ru-RU" sz="2000" kern="0" dirty="0" smtClean="0">
                <a:solidFill>
                  <a:srgbClr val="000000"/>
                </a:solidFill>
                <a:latin typeface="Arial" charset="0"/>
                <a:ea typeface="+mn-ea"/>
                <a:cs typeface="Arial" charset="0"/>
              </a:rPr>
              <a:t> 1048</a:t>
            </a:r>
            <a:endParaRPr lang="en-US" sz="2000" kern="0" dirty="0" smtClean="0">
              <a:solidFill>
                <a:srgbClr val="000000"/>
              </a:solidFill>
              <a:latin typeface="Arial" charset="0"/>
              <a:ea typeface="+mn-ea"/>
              <a:cs typeface="Arial" charset="0"/>
            </a:endParaRPr>
          </a:p>
          <a:p>
            <a:r>
              <a:rPr lang="en-US" sz="2000" kern="0" dirty="0" smtClean="0">
                <a:hlinkClick r:id="rId3"/>
              </a:rPr>
              <a:t>EA_Tkachenko6@nnpo.rosneft.ru</a:t>
            </a:r>
            <a:r>
              <a:rPr lang="en-US" sz="2000" kern="0" dirty="0" smtClean="0"/>
              <a:t>; </a:t>
            </a:r>
            <a:endParaRPr lang="ru-RU" sz="2000" kern="0" dirty="0" smtClean="0"/>
          </a:p>
          <a:p>
            <a:endParaRPr lang="ru-RU" sz="2000" kern="0" dirty="0"/>
          </a:p>
        </p:txBody>
      </p:sp>
    </p:spTree>
    <p:extLst>
      <p:ext uri="{BB962C8B-B14F-4D97-AF65-F5344CB8AC3E}">
        <p14:creationId xmlns:p14="http://schemas.microsoft.com/office/powerpoint/2010/main" val="35687272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CHORPOINT" val="NO VALUE"/>
  <p:tag name="CHARTLIBVERSION" val="NO VALUE"/>
  <p:tag name="DDVERSION" val="2.0"/>
  <p:tag name="FILLFORECOLOR" val="NO VALUE"/>
  <p:tag name="PLACEHOLDERSIZE" val="NO VALUE"/>
  <p:tag name="SOURCE" val="NO VALUE"/>
  <p:tag name="TYPE" val="PageTitleThickRule"/>
  <p:tag name="FONTCOLOR" val=""/>
  <p:tag name="SUBOBJECTID" val="PgTitlesThickRule"/>
  <p:tag name="OBJECTID" val="PgTitles"/>
  <p:tag name="LEFT" val="226.8"/>
  <p:tag name="TOP" val="133.2"/>
  <p:tag name="LINEWEIGHT" val="2"/>
  <p:tag name="WIDTH" val="522"/>
  <p:tag name="LINECOLOR" val="Page Title Rule"/>
  <p:tag name="DEVICE" val="Canon Colorpass 100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SGnvvnRE6AOYWVF3EM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vxYSkVHkWXTq.iBSzy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HB2eZsEeKNs0eg1Yl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SGnvvnRE6AOYWVF3EM7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vxYSkVHkWXTq.iBSzy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HB2eZsEeKNs0eg1Yly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SGnvvnRE6AOYWVF3EM7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vxYSkVHkWXTq.iBSzym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HB2eZsEeKNs0eg1Yl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SGnvvnRE6AOYWVF3EM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vxYSkVHkWXTq.iBSzym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HB2eZsEeKNs0eg1Yly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TqW0bfm0yDublHLoUH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d1C_tdfEuZ_pIGQE7L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SGnvvnRE6AOYWVF3EM7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vxYSkVHkWXTq.iBSzy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mHB2eZsEeKNs0eg1Yl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тчет о выполнении пргрмы РЕКОМОДЕ 12_09_2011">
  <a:themeElements>
    <a:clrScheme name="1_Custom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ustom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etter Blank">
  <a:themeElements>
    <a:clrScheme name="Rosneft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CDFBE"/>
      </a:accent1>
      <a:accent2>
        <a:srgbClr val="FFE17D"/>
      </a:accent2>
      <a:accent3>
        <a:srgbClr val="FFFFFF"/>
      </a:accent3>
      <a:accent4>
        <a:srgbClr val="000000"/>
      </a:accent4>
      <a:accent5>
        <a:srgbClr val="F4ECDB"/>
      </a:accent5>
      <a:accent6>
        <a:srgbClr val="E7CC71"/>
      </a:accent6>
      <a:hlink>
        <a:srgbClr val="FFD300"/>
      </a:hlink>
      <a:folHlink>
        <a:srgbClr val="878786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8B25C"/>
        </a:solidFill>
        <a:ln w="9525" cap="flat" cmpd="sng" algn="ctr">
          <a:solidFill>
            <a:srgbClr val="D8B25C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rgbClr val="B2B2B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lIns="45720" rIns="45720" rtlCol="0" anchor="t" anchorCtr="0">
        <a:noAutofit/>
      </a:bodyPr>
      <a:lstStyle>
        <a:defPPr algn="l">
          <a:spcBef>
            <a:spcPct val="0"/>
          </a:spcBef>
          <a:buClr>
            <a:srgbClr val="947C18"/>
          </a:buClr>
          <a:buSzPct val="100000"/>
          <a:defRPr sz="1200" b="1" dirty="0" err="1" smtClean="0">
            <a:solidFill>
              <a:srgbClr val="000000"/>
            </a:solidFill>
            <a:latin typeface="Arial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910</TotalTime>
  <Words>278</Words>
  <Application>Microsoft Office PowerPoint</Application>
  <PresentationFormat>Лист A4 (210x297 мм)</PresentationFormat>
  <Paragraphs>60</Paragraphs>
  <Slides>6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9" baseType="lpstr">
      <vt:lpstr>Отчет о выполнении пргрмы РЕКОМОДЕ 12_09_2011</vt:lpstr>
      <vt:lpstr>Letter Blank</vt:lpstr>
      <vt:lpstr>think-cell Slide</vt:lpstr>
      <vt:lpstr>Презентация PowerPoint</vt:lpstr>
      <vt:lpstr>Социальная поддержка молодых специалистов ООО «ННПО»</vt:lpstr>
      <vt:lpstr>Обучение и развитие молодых специалистов ООО «ННПО»</vt:lpstr>
      <vt:lpstr>Основные востребованные профессии </vt:lpstr>
      <vt:lpstr>Основные востребованные профессии</vt:lpstr>
      <vt:lpstr>Контакты ООО «ННПО»</vt:lpstr>
    </vt:vector>
  </TitlesOfParts>
  <Company>ОАО "НК "Роснефть"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аголовок презентации</dc:title>
  <dc:subject>Положение ОАО "НК "Роснефть" "Порядок подготовки публичных презентаций и докладов президента ОАО "НК "Роснефть" №П3-01.04 Р-0001 ЮЛ-001 версия 2.00</dc:subject>
  <dc:creator>Александр Авакян</dc:creator>
  <cp:lastModifiedBy>Staff</cp:lastModifiedBy>
  <cp:revision>780</cp:revision>
  <cp:lastPrinted>2022-04-07T11:13:41Z</cp:lastPrinted>
  <dcterms:created xsi:type="dcterms:W3CDTF">2011-09-12T09:16:00Z</dcterms:created>
  <dcterms:modified xsi:type="dcterms:W3CDTF">2023-04-26T05:41:35Z</dcterms:modified>
</cp:coreProperties>
</file>